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7.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828" r:id="rId5"/>
    <p:sldMasterId id="2147483870" r:id="rId6"/>
    <p:sldMasterId id="2147484069" r:id="rId7"/>
    <p:sldMasterId id="2147484093" r:id="rId8"/>
    <p:sldMasterId id="2147484117" r:id="rId9"/>
  </p:sldMasterIdLst>
  <p:notesMasterIdLst>
    <p:notesMasterId r:id="rId20"/>
  </p:notesMasterIdLst>
  <p:sldIdLst>
    <p:sldId id="2147376736" r:id="rId10"/>
    <p:sldId id="2147475379" r:id="rId11"/>
    <p:sldId id="2147475393" r:id="rId12"/>
    <p:sldId id="2147475396" r:id="rId13"/>
    <p:sldId id="2147475392" r:id="rId14"/>
    <p:sldId id="2147475394" r:id="rId15"/>
    <p:sldId id="2147475395" r:id="rId16"/>
    <p:sldId id="2147475362" r:id="rId17"/>
    <p:sldId id="2147475390" r:id="rId18"/>
    <p:sldId id="2147474776" r:id="rId19"/>
  </p:sldIdLst>
  <p:sldSz cx="12192000" cy="6858000"/>
  <p:notesSz cx="6797675" cy="9926638"/>
  <p:custDataLst>
    <p:tags r:id="rId21"/>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zione predefinita" id="{9D4152AB-AE6B-4EF1-B4A9-B773D2E93096}">
          <p14:sldIdLst>
            <p14:sldId id="2147376736"/>
            <p14:sldId id="2147475379"/>
            <p14:sldId id="2147475393"/>
            <p14:sldId id="2147475396"/>
            <p14:sldId id="2147475392"/>
            <p14:sldId id="2147475394"/>
            <p14:sldId id="2147475395"/>
            <p14:sldId id="2147475362"/>
            <p14:sldId id="2147475390"/>
            <p14:sldId id="2147474776"/>
          </p14:sldIdLst>
        </p14:section>
      </p14:sectionLst>
    </p:ext>
    <p:ext uri="{EFAFB233-063F-42B5-8137-9DF3F51BA10A}">
      <p15:sldGuideLst xmlns:p15="http://schemas.microsoft.com/office/powerpoint/2012/main">
        <p15:guide id="1" orient="horz" pos="346" userDrawn="1">
          <p15:clr>
            <a:srgbClr val="A4A3A4"/>
          </p15:clr>
        </p15:guide>
        <p15:guide id="2" pos="7015" userDrawn="1">
          <p15:clr>
            <a:srgbClr val="A4A3A4"/>
          </p15:clr>
        </p15:guide>
        <p15:guide id="3" orient="horz" pos="4224" userDrawn="1">
          <p15:clr>
            <a:srgbClr val="A4A3A4"/>
          </p15:clr>
        </p15:guide>
        <p15:guide id="4" pos="1051" userDrawn="1">
          <p15:clr>
            <a:srgbClr val="A4A3A4"/>
          </p15:clr>
        </p15:guide>
        <p15:guide id="5" orient="horz" pos="84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56FF0D-3CE4-31F5-C295-2F8FECA6F564}" name="Luca Celotto" initials="LC" userId="S::luca.celotto@ambrosetti.eu::1f8d4f4b-de7d-469f-aa32-f20fc87c0a4e" providerId="AD"/>
  <p188:author id="{90BB9F22-EAA4-7707-BAFE-E0431F996059}" name="Francesco Galletti" initials="FG" userId="S::francesco.galletti@ambrosetti.eu::8a021ff1-9065-4113-b463-6d9a8ace14d0" providerId="AD"/>
  <p188:author id="{EE8249BF-71C7-3C9B-CEFF-6085531985B8}" name="Diego Medagli" initials="DM" userId="S::diego.medagli@ambrosetti.eu::b762a0a5-b1c8-4a49-967b-6aa6d0295f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co Galletti" initials="FG" lastIdx="1" clrIdx="0">
    <p:extLst>
      <p:ext uri="{19B8F6BF-5375-455C-9EA6-DF929625EA0E}">
        <p15:presenceInfo xmlns:p15="http://schemas.microsoft.com/office/powerpoint/2012/main" userId="S::francesco.galletti@ambrosetti.eu::8a021ff1-9065-4113-b463-6d9a8ace14d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7B20"/>
    <a:srgbClr val="001E60"/>
    <a:srgbClr val="DAE3F3"/>
    <a:srgbClr val="E4E7ED"/>
    <a:srgbClr val="B7C0B0"/>
    <a:srgbClr val="1FB18E"/>
    <a:srgbClr val="19867E"/>
    <a:srgbClr val="EAE3E4"/>
    <a:srgbClr val="EAE2E7"/>
    <a:srgbClr val="E6E3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5AB2BB-A16E-4143-8E58-03F5B98A59A3}" v="298" dt="2025-06-25T00:59:15.376"/>
    <p1510:client id="{C1CE429F-B11C-4E27-9CFF-89149C269316}" v="200" dt="2025-06-24T23:28:14.893"/>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447" autoAdjust="0"/>
  </p:normalViewPr>
  <p:slideViewPr>
    <p:cSldViewPr snapToGrid="0">
      <p:cViewPr varScale="1">
        <p:scale>
          <a:sx n="59" d="100"/>
          <a:sy n="59" d="100"/>
        </p:scale>
        <p:origin x="940" y="52"/>
      </p:cViewPr>
      <p:guideLst>
        <p:guide orient="horz" pos="346"/>
        <p:guide pos="7015"/>
        <p:guide orient="horz" pos="4224"/>
        <p:guide pos="1051"/>
        <p:guide orient="horz" pos="845"/>
      </p:guideLst>
    </p:cSldViewPr>
  </p:slideViewPr>
  <p:notesTextViewPr>
    <p:cViewPr>
      <p:scale>
        <a:sx n="1" d="1"/>
        <a:sy n="1" d="1"/>
      </p:scale>
      <p:origin x="0" y="0"/>
    </p:cViewPr>
  </p:notesTextViewPr>
  <p:sorterViewPr>
    <p:cViewPr varScale="1">
      <p:scale>
        <a:sx n="100" d="100"/>
        <a:sy n="100" d="100"/>
      </p:scale>
      <p:origin x="0" y="-252"/>
    </p:cViewPr>
  </p:sorterViewPr>
  <p:notesViewPr>
    <p:cSldViewPr snapToGrid="0">
      <p:cViewPr varScale="1">
        <p:scale>
          <a:sx n="42" d="100"/>
          <a:sy n="42" d="100"/>
        </p:scale>
        <p:origin x="2828" y="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io Parma" userId="9f05d00a-e537-49d7-8068-10844eaca034" providerId="ADAL" clId="{B63DB5E5-B7F1-4087-9CE8-FA7F4126B903}"/>
    <pc:docChg chg="undo custSel addSld delSld modSld sldOrd modSection">
      <pc:chgData name="Pio Parma" userId="9f05d00a-e537-49d7-8068-10844eaca034" providerId="ADAL" clId="{B63DB5E5-B7F1-4087-9CE8-FA7F4126B903}" dt="2025-06-24T17:48:00.264" v="1415" actId="478"/>
      <pc:docMkLst>
        <pc:docMk/>
      </pc:docMkLst>
      <pc:sldChg chg="addSp delSp modSp mod">
        <pc:chgData name="Pio Parma" userId="9f05d00a-e537-49d7-8068-10844eaca034" providerId="ADAL" clId="{B63DB5E5-B7F1-4087-9CE8-FA7F4126B903}" dt="2025-06-23T13:34:16.072" v="1319"/>
        <pc:sldMkLst>
          <pc:docMk/>
          <pc:sldMk cId="1723374067" sldId="2147375665"/>
        </pc:sldMkLst>
      </pc:sldChg>
      <pc:sldChg chg="addSp delSp modSp mod">
        <pc:chgData name="Pio Parma" userId="9f05d00a-e537-49d7-8068-10844eaca034" providerId="ADAL" clId="{B63DB5E5-B7F1-4087-9CE8-FA7F4126B903}" dt="2025-06-24T17:48:00.264" v="1415" actId="478"/>
        <pc:sldMkLst>
          <pc:docMk/>
          <pc:sldMk cId="2590303566" sldId="2147376736"/>
        </pc:sldMkLst>
        <pc:spChg chg="add del mod">
          <ac:chgData name="Pio Parma" userId="9f05d00a-e537-49d7-8068-10844eaca034" providerId="ADAL" clId="{B63DB5E5-B7F1-4087-9CE8-FA7F4126B903}" dt="2025-06-24T17:48:00.264" v="1415" actId="478"/>
          <ac:spMkLst>
            <pc:docMk/>
            <pc:sldMk cId="2590303566" sldId="2147376736"/>
            <ac:spMk id="3" creationId="{AF0674E3-BD5D-F462-9F24-911A16D236FC}"/>
          </ac:spMkLst>
        </pc:spChg>
        <pc:spChg chg="mod">
          <ac:chgData name="Pio Parma" userId="9f05d00a-e537-49d7-8068-10844eaca034" providerId="ADAL" clId="{B63DB5E5-B7F1-4087-9CE8-FA7F4126B903}" dt="2025-06-23T12:44:30.264" v="842" actId="404"/>
          <ac:spMkLst>
            <pc:docMk/>
            <pc:sldMk cId="2590303566" sldId="2147376736"/>
            <ac:spMk id="8" creationId="{3CAC02F9-6A35-07CD-375F-65B1BE4A040B}"/>
          </ac:spMkLst>
        </pc:spChg>
      </pc:sldChg>
      <pc:sldChg chg="delSp mod">
        <pc:chgData name="Pio Parma" userId="9f05d00a-e537-49d7-8068-10844eaca034" providerId="ADAL" clId="{B63DB5E5-B7F1-4087-9CE8-FA7F4126B903}" dt="2025-06-23T13:36:22.785" v="1412" actId="478"/>
        <pc:sldMkLst>
          <pc:docMk/>
          <pc:sldMk cId="599624620" sldId="2147376738"/>
        </pc:sldMkLst>
      </pc:sldChg>
      <pc:sldChg chg="modSp mod">
        <pc:chgData name="Pio Parma" userId="9f05d00a-e537-49d7-8068-10844eaca034" providerId="ADAL" clId="{B63DB5E5-B7F1-4087-9CE8-FA7F4126B903}" dt="2025-06-23T13:34:05.618" v="1315" actId="20577"/>
        <pc:sldMkLst>
          <pc:docMk/>
          <pc:sldMk cId="2858390188" sldId="2147472039"/>
        </pc:sldMkLst>
      </pc:sldChg>
      <pc:sldChg chg="delSp mod">
        <pc:chgData name="Pio Parma" userId="9f05d00a-e537-49d7-8068-10844eaca034" providerId="ADAL" clId="{B63DB5E5-B7F1-4087-9CE8-FA7F4126B903}" dt="2025-06-23T13:36:20.994" v="1411" actId="478"/>
        <pc:sldMkLst>
          <pc:docMk/>
          <pc:sldMk cId="1154538665" sldId="2147472228"/>
        </pc:sldMkLst>
      </pc:sldChg>
      <pc:sldChg chg="modSp mod">
        <pc:chgData name="Pio Parma" userId="9f05d00a-e537-49d7-8068-10844eaca034" providerId="ADAL" clId="{B63DB5E5-B7F1-4087-9CE8-FA7F4126B903}" dt="2025-06-23T13:11:53.459" v="1248" actId="2085"/>
        <pc:sldMkLst>
          <pc:docMk/>
          <pc:sldMk cId="4182456349" sldId="2147472254"/>
        </pc:sldMkLst>
      </pc:sldChg>
      <pc:sldChg chg="delSp mod">
        <pc:chgData name="Pio Parma" userId="9f05d00a-e537-49d7-8068-10844eaca034" providerId="ADAL" clId="{B63DB5E5-B7F1-4087-9CE8-FA7F4126B903}" dt="2025-06-23T13:36:24.615" v="1413" actId="478"/>
        <pc:sldMkLst>
          <pc:docMk/>
          <pc:sldMk cId="455048317" sldId="2147472271"/>
        </pc:sldMkLst>
      </pc:sldChg>
      <pc:sldChg chg="ord">
        <pc:chgData name="Pio Parma" userId="9f05d00a-e537-49d7-8068-10844eaca034" providerId="ADAL" clId="{B63DB5E5-B7F1-4087-9CE8-FA7F4126B903}" dt="2025-06-23T13:10:22.213" v="1242" actId="20578"/>
        <pc:sldMkLst>
          <pc:docMk/>
          <pc:sldMk cId="3690000844" sldId="2147472343"/>
        </pc:sldMkLst>
      </pc:sldChg>
      <pc:sldChg chg="modSp mod">
        <pc:chgData name="Pio Parma" userId="9f05d00a-e537-49d7-8068-10844eaca034" providerId="ADAL" clId="{B63DB5E5-B7F1-4087-9CE8-FA7F4126B903}" dt="2025-06-23T12:45:21.661" v="851" actId="20577"/>
        <pc:sldMkLst>
          <pc:docMk/>
          <pc:sldMk cId="2471418935" sldId="2147472349"/>
        </pc:sldMkLst>
      </pc:sldChg>
      <pc:sldChg chg="modSp mod">
        <pc:chgData name="Pio Parma" userId="9f05d00a-e537-49d7-8068-10844eaca034" providerId="ADAL" clId="{B63DB5E5-B7F1-4087-9CE8-FA7F4126B903}" dt="2025-06-23T13:12:35.971" v="1249" actId="20577"/>
        <pc:sldMkLst>
          <pc:docMk/>
          <pc:sldMk cId="636538149" sldId="2147472359"/>
        </pc:sldMkLst>
      </pc:sldChg>
      <pc:sldChg chg="delSp mod">
        <pc:chgData name="Pio Parma" userId="9f05d00a-e537-49d7-8068-10844eaca034" providerId="ADAL" clId="{B63DB5E5-B7F1-4087-9CE8-FA7F4126B903}" dt="2025-06-23T13:36:26.277" v="1414" actId="478"/>
        <pc:sldMkLst>
          <pc:docMk/>
          <pc:sldMk cId="2377423638" sldId="2147472363"/>
        </pc:sldMkLst>
      </pc:sldChg>
      <pc:sldChg chg="addSp delSp modSp mod modNotes">
        <pc:chgData name="Pio Parma" userId="9f05d00a-e537-49d7-8068-10844eaca034" providerId="ADAL" clId="{B63DB5E5-B7F1-4087-9CE8-FA7F4126B903}" dt="2025-06-23T13:34:11.812" v="1317"/>
        <pc:sldMkLst>
          <pc:docMk/>
          <pc:sldMk cId="3078591797" sldId="2147472404"/>
        </pc:sldMkLst>
      </pc:sldChg>
      <pc:sldChg chg="addSp modSp add">
        <pc:chgData name="Pio Parma" userId="9f05d00a-e537-49d7-8068-10844eaca034" providerId="ADAL" clId="{B63DB5E5-B7F1-4087-9CE8-FA7F4126B903}" dt="2025-06-23T13:34:49.209" v="1345"/>
        <pc:sldMkLst>
          <pc:docMk/>
          <pc:sldMk cId="1402534936" sldId="2147472427"/>
        </pc:sldMkLst>
      </pc:sldChg>
      <pc:sldChg chg="del">
        <pc:chgData name="Pio Parma" userId="9f05d00a-e537-49d7-8068-10844eaca034" providerId="ADAL" clId="{B63DB5E5-B7F1-4087-9CE8-FA7F4126B903}" dt="2025-06-23T10:39:25.189" v="68" actId="2696"/>
        <pc:sldMkLst>
          <pc:docMk/>
          <pc:sldMk cId="2666937351" sldId="2147472427"/>
        </pc:sldMkLst>
      </pc:sldChg>
      <pc:sldChg chg="del">
        <pc:chgData name="Pio Parma" userId="9f05d00a-e537-49d7-8068-10844eaca034" providerId="ADAL" clId="{B63DB5E5-B7F1-4087-9CE8-FA7F4126B903}" dt="2025-06-23T10:39:25.189" v="68" actId="2696"/>
        <pc:sldMkLst>
          <pc:docMk/>
          <pc:sldMk cId="3947549932" sldId="2147472439"/>
        </pc:sldMkLst>
      </pc:sldChg>
      <pc:sldChg chg="addSp modSp add modNotesTx">
        <pc:chgData name="Pio Parma" userId="9f05d00a-e537-49d7-8068-10844eaca034" providerId="ADAL" clId="{B63DB5E5-B7F1-4087-9CE8-FA7F4126B903}" dt="2025-06-23T13:34:51.154" v="1346"/>
        <pc:sldMkLst>
          <pc:docMk/>
          <pc:sldMk cId="4172678325" sldId="2147472439"/>
        </pc:sldMkLst>
      </pc:sldChg>
      <pc:sldChg chg="addSp modSp add mod">
        <pc:chgData name="Pio Parma" userId="9f05d00a-e537-49d7-8068-10844eaca034" providerId="ADAL" clId="{B63DB5E5-B7F1-4087-9CE8-FA7F4126B903}" dt="2025-06-23T13:34:46.908" v="1344"/>
        <pc:sldMkLst>
          <pc:docMk/>
          <pc:sldMk cId="2201983188" sldId="2147472455"/>
        </pc:sldMkLst>
      </pc:sldChg>
      <pc:sldChg chg="del">
        <pc:chgData name="Pio Parma" userId="9f05d00a-e537-49d7-8068-10844eaca034" providerId="ADAL" clId="{B63DB5E5-B7F1-4087-9CE8-FA7F4126B903}" dt="2025-06-23T10:39:25.189" v="68" actId="2696"/>
        <pc:sldMkLst>
          <pc:docMk/>
          <pc:sldMk cId="3260725929" sldId="2147472455"/>
        </pc:sldMkLst>
      </pc:sldChg>
      <pc:sldChg chg="addSp delSp modSp mod">
        <pc:chgData name="Pio Parma" userId="9f05d00a-e537-49d7-8068-10844eaca034" providerId="ADAL" clId="{B63DB5E5-B7F1-4087-9CE8-FA7F4126B903}" dt="2025-06-23T13:34:26.838" v="1325"/>
        <pc:sldMkLst>
          <pc:docMk/>
          <pc:sldMk cId="359380087" sldId="2147472467"/>
        </pc:sldMkLst>
      </pc:sldChg>
      <pc:sldChg chg="addSp delSp modSp mod">
        <pc:chgData name="Pio Parma" userId="9f05d00a-e537-49d7-8068-10844eaca034" providerId="ADAL" clId="{B63DB5E5-B7F1-4087-9CE8-FA7F4126B903}" dt="2025-06-23T13:34:30.948" v="1327"/>
        <pc:sldMkLst>
          <pc:docMk/>
          <pc:sldMk cId="1142706462" sldId="2147472468"/>
        </pc:sldMkLst>
      </pc:sldChg>
      <pc:sldChg chg="addSp delSp modSp mod">
        <pc:chgData name="Pio Parma" userId="9f05d00a-e537-49d7-8068-10844eaca034" providerId="ADAL" clId="{B63DB5E5-B7F1-4087-9CE8-FA7F4126B903}" dt="2025-06-23T13:34:34.803" v="1329"/>
        <pc:sldMkLst>
          <pc:docMk/>
          <pc:sldMk cId="4283287526" sldId="2147472566"/>
        </pc:sldMkLst>
      </pc:sldChg>
      <pc:sldChg chg="addSp delSp modSp mod ord">
        <pc:chgData name="Pio Parma" userId="9f05d00a-e537-49d7-8068-10844eaca034" providerId="ADAL" clId="{B63DB5E5-B7F1-4087-9CE8-FA7F4126B903}" dt="2025-06-23T13:34:19.676" v="1321"/>
        <pc:sldMkLst>
          <pc:docMk/>
          <pc:sldMk cId="993144069" sldId="2147472586"/>
        </pc:sldMkLst>
      </pc:sldChg>
      <pc:sldChg chg="del">
        <pc:chgData name="Pio Parma" userId="9f05d00a-e537-49d7-8068-10844eaca034" providerId="ADAL" clId="{B63DB5E5-B7F1-4087-9CE8-FA7F4126B903}" dt="2025-06-23T10:39:25.189" v="68" actId="2696"/>
        <pc:sldMkLst>
          <pc:docMk/>
          <pc:sldMk cId="765019659" sldId="2147474734"/>
        </pc:sldMkLst>
      </pc:sldChg>
      <pc:sldChg chg="addSp delSp modSp add mod">
        <pc:chgData name="Pio Parma" userId="9f05d00a-e537-49d7-8068-10844eaca034" providerId="ADAL" clId="{B63DB5E5-B7F1-4087-9CE8-FA7F4126B903}" dt="2025-06-23T13:34:44.282" v="1343" actId="1036"/>
        <pc:sldMkLst>
          <pc:docMk/>
          <pc:sldMk cId="3020276720" sldId="2147474734"/>
        </pc:sldMkLst>
      </pc:sldChg>
      <pc:sldChg chg="addSp modSp add mod modNotes">
        <pc:chgData name="Pio Parma" userId="9f05d00a-e537-49d7-8068-10844eaca034" providerId="ADAL" clId="{B63DB5E5-B7F1-4087-9CE8-FA7F4126B903}" dt="2025-06-23T13:34:37.382" v="1330"/>
        <pc:sldMkLst>
          <pc:docMk/>
          <pc:sldMk cId="526873075" sldId="2147474735"/>
        </pc:sldMkLst>
      </pc:sldChg>
      <pc:sldChg chg="del">
        <pc:chgData name="Pio Parma" userId="9f05d00a-e537-49d7-8068-10844eaca034" providerId="ADAL" clId="{B63DB5E5-B7F1-4087-9CE8-FA7F4126B903}" dt="2025-06-23T10:39:25.189" v="68" actId="2696"/>
        <pc:sldMkLst>
          <pc:docMk/>
          <pc:sldMk cId="2534189817" sldId="2147474735"/>
        </pc:sldMkLst>
      </pc:sldChg>
      <pc:sldChg chg="del">
        <pc:chgData name="Pio Parma" userId="9f05d00a-e537-49d7-8068-10844eaca034" providerId="ADAL" clId="{B63DB5E5-B7F1-4087-9CE8-FA7F4126B903}" dt="2025-06-23T10:39:25.189" v="68" actId="2696"/>
        <pc:sldMkLst>
          <pc:docMk/>
          <pc:sldMk cId="697909136" sldId="2147474747"/>
        </pc:sldMkLst>
      </pc:sldChg>
      <pc:sldChg chg="addSp modSp add mod">
        <pc:chgData name="Pio Parma" userId="9f05d00a-e537-49d7-8068-10844eaca034" providerId="ADAL" clId="{B63DB5E5-B7F1-4087-9CE8-FA7F4126B903}" dt="2025-06-23T13:34:56.183" v="1348" actId="20577"/>
        <pc:sldMkLst>
          <pc:docMk/>
          <pc:sldMk cId="3078170650" sldId="2147474747"/>
        </pc:sldMkLst>
      </pc:sldChg>
      <pc:sldChg chg="addSp modSp add mod">
        <pc:chgData name="Pio Parma" userId="9f05d00a-e537-49d7-8068-10844eaca034" providerId="ADAL" clId="{B63DB5E5-B7F1-4087-9CE8-FA7F4126B903}" dt="2025-06-23T13:35:11.250" v="1350" actId="20577"/>
        <pc:sldMkLst>
          <pc:docMk/>
          <pc:sldMk cId="220745552" sldId="2147474749"/>
        </pc:sldMkLst>
      </pc:sldChg>
      <pc:sldChg chg="del">
        <pc:chgData name="Pio Parma" userId="9f05d00a-e537-49d7-8068-10844eaca034" providerId="ADAL" clId="{B63DB5E5-B7F1-4087-9CE8-FA7F4126B903}" dt="2025-06-23T10:39:25.189" v="68" actId="2696"/>
        <pc:sldMkLst>
          <pc:docMk/>
          <pc:sldMk cId="1531023582" sldId="2147474749"/>
        </pc:sldMkLst>
      </pc:sldChg>
      <pc:sldChg chg="addSp modSp add mod">
        <pc:chgData name="Pio Parma" userId="9f05d00a-e537-49d7-8068-10844eaca034" providerId="ADAL" clId="{B63DB5E5-B7F1-4087-9CE8-FA7F4126B903}" dt="2025-06-23T13:36:06.188" v="1409" actId="14100"/>
        <pc:sldMkLst>
          <pc:docMk/>
          <pc:sldMk cId="717741983" sldId="2147474757"/>
        </pc:sldMkLst>
      </pc:sldChg>
      <pc:sldChg chg="del">
        <pc:chgData name="Pio Parma" userId="9f05d00a-e537-49d7-8068-10844eaca034" providerId="ADAL" clId="{B63DB5E5-B7F1-4087-9CE8-FA7F4126B903}" dt="2025-06-23T10:39:25.189" v="68" actId="2696"/>
        <pc:sldMkLst>
          <pc:docMk/>
          <pc:sldMk cId="3903344536" sldId="2147474757"/>
        </pc:sldMkLst>
      </pc:sldChg>
      <pc:sldChg chg="del">
        <pc:chgData name="Pio Parma" userId="9f05d00a-e537-49d7-8068-10844eaca034" providerId="ADAL" clId="{B63DB5E5-B7F1-4087-9CE8-FA7F4126B903}" dt="2025-06-23T10:38:40.509" v="58" actId="47"/>
        <pc:sldMkLst>
          <pc:docMk/>
          <pc:sldMk cId="2091942728" sldId="2147475554"/>
        </pc:sldMkLst>
      </pc:sldChg>
      <pc:sldChg chg="del">
        <pc:chgData name="Pio Parma" userId="9f05d00a-e537-49d7-8068-10844eaca034" providerId="ADAL" clId="{B63DB5E5-B7F1-4087-9CE8-FA7F4126B903}" dt="2025-06-23T10:38:40.509" v="58" actId="47"/>
        <pc:sldMkLst>
          <pc:docMk/>
          <pc:sldMk cId="3886016487" sldId="2147475559"/>
        </pc:sldMkLst>
      </pc:sldChg>
      <pc:sldChg chg="del">
        <pc:chgData name="Pio Parma" userId="9f05d00a-e537-49d7-8068-10844eaca034" providerId="ADAL" clId="{B63DB5E5-B7F1-4087-9CE8-FA7F4126B903}" dt="2025-06-23T10:38:40.509" v="58" actId="47"/>
        <pc:sldMkLst>
          <pc:docMk/>
          <pc:sldMk cId="891261459" sldId="2147475560"/>
        </pc:sldMkLst>
      </pc:sldChg>
      <pc:sldChg chg="del">
        <pc:chgData name="Pio Parma" userId="9f05d00a-e537-49d7-8068-10844eaca034" providerId="ADAL" clId="{B63DB5E5-B7F1-4087-9CE8-FA7F4126B903}" dt="2025-06-23T10:38:40.509" v="58" actId="47"/>
        <pc:sldMkLst>
          <pc:docMk/>
          <pc:sldMk cId="1228689251" sldId="2147475562"/>
        </pc:sldMkLst>
      </pc:sldChg>
      <pc:sldChg chg="del">
        <pc:chgData name="Pio Parma" userId="9f05d00a-e537-49d7-8068-10844eaca034" providerId="ADAL" clId="{B63DB5E5-B7F1-4087-9CE8-FA7F4126B903}" dt="2025-06-23T10:38:40.509" v="58" actId="47"/>
        <pc:sldMkLst>
          <pc:docMk/>
          <pc:sldMk cId="1957980572" sldId="2147475567"/>
        </pc:sldMkLst>
      </pc:sldChg>
      <pc:sldChg chg="modSp mod">
        <pc:chgData name="Pio Parma" userId="9f05d00a-e537-49d7-8068-10844eaca034" providerId="ADAL" clId="{B63DB5E5-B7F1-4087-9CE8-FA7F4126B903}" dt="2025-06-23T13:01:40.166" v="1049" actId="1037"/>
        <pc:sldMkLst>
          <pc:docMk/>
          <pc:sldMk cId="3273693058" sldId="2147475569"/>
        </pc:sldMkLst>
      </pc:sldChg>
      <pc:sldChg chg="del">
        <pc:chgData name="Pio Parma" userId="9f05d00a-e537-49d7-8068-10844eaca034" providerId="ADAL" clId="{B63DB5E5-B7F1-4087-9CE8-FA7F4126B903}" dt="2025-06-23T10:38:40.509" v="58" actId="47"/>
        <pc:sldMkLst>
          <pc:docMk/>
          <pc:sldMk cId="3958190380" sldId="2147475594"/>
        </pc:sldMkLst>
      </pc:sldChg>
      <pc:sldChg chg="del">
        <pc:chgData name="Pio Parma" userId="9f05d00a-e537-49d7-8068-10844eaca034" providerId="ADAL" clId="{B63DB5E5-B7F1-4087-9CE8-FA7F4126B903}" dt="2025-06-23T10:38:40.509" v="58" actId="47"/>
        <pc:sldMkLst>
          <pc:docMk/>
          <pc:sldMk cId="2833256230" sldId="2147475603"/>
        </pc:sldMkLst>
      </pc:sldChg>
      <pc:sldChg chg="delSp mod">
        <pc:chgData name="Pio Parma" userId="9f05d00a-e537-49d7-8068-10844eaca034" providerId="ADAL" clId="{B63DB5E5-B7F1-4087-9CE8-FA7F4126B903}" dt="2025-06-23T13:36:14.493" v="1410" actId="478"/>
        <pc:sldMkLst>
          <pc:docMk/>
          <pc:sldMk cId="3474545170" sldId="2147476848"/>
        </pc:sldMkLst>
      </pc:sldChg>
      <pc:sldChg chg="modSp mod">
        <pc:chgData name="Pio Parma" userId="9f05d00a-e537-49d7-8068-10844eaca034" providerId="ADAL" clId="{B63DB5E5-B7F1-4087-9CE8-FA7F4126B903}" dt="2025-06-23T13:10:43.417" v="1244" actId="12"/>
        <pc:sldMkLst>
          <pc:docMk/>
          <pc:sldMk cId="140630364" sldId="2147476975"/>
        </pc:sldMkLst>
      </pc:sldChg>
      <pc:sldChg chg="del">
        <pc:chgData name="Pio Parma" userId="9f05d00a-e537-49d7-8068-10844eaca034" providerId="ADAL" clId="{B63DB5E5-B7F1-4087-9CE8-FA7F4126B903}" dt="2025-06-23T10:38:40.509" v="58" actId="47"/>
        <pc:sldMkLst>
          <pc:docMk/>
          <pc:sldMk cId="4231662902" sldId="2147476978"/>
        </pc:sldMkLst>
      </pc:sldChg>
      <pc:sldChg chg="del">
        <pc:chgData name="Pio Parma" userId="9f05d00a-e537-49d7-8068-10844eaca034" providerId="ADAL" clId="{B63DB5E5-B7F1-4087-9CE8-FA7F4126B903}" dt="2025-06-23T10:38:40.509" v="58" actId="47"/>
        <pc:sldMkLst>
          <pc:docMk/>
          <pc:sldMk cId="1227026058" sldId="2147483571"/>
        </pc:sldMkLst>
      </pc:sldChg>
      <pc:sldChg chg="modSp mod">
        <pc:chgData name="Pio Parma" userId="9f05d00a-e537-49d7-8068-10844eaca034" providerId="ADAL" clId="{B63DB5E5-B7F1-4087-9CE8-FA7F4126B903}" dt="2025-06-23T13:05:58.612" v="1214" actId="113"/>
        <pc:sldMkLst>
          <pc:docMk/>
          <pc:sldMk cId="1412662126" sldId="2147483579"/>
        </pc:sldMkLst>
      </pc:sldChg>
      <pc:sldChg chg="del">
        <pc:chgData name="Pio Parma" userId="9f05d00a-e537-49d7-8068-10844eaca034" providerId="ADAL" clId="{B63DB5E5-B7F1-4087-9CE8-FA7F4126B903}" dt="2025-06-23T10:38:40.509" v="58" actId="47"/>
        <pc:sldMkLst>
          <pc:docMk/>
          <pc:sldMk cId="2008002976" sldId="2147483587"/>
        </pc:sldMkLst>
      </pc:sldChg>
      <pc:sldChg chg="del">
        <pc:chgData name="Pio Parma" userId="9f05d00a-e537-49d7-8068-10844eaca034" providerId="ADAL" clId="{B63DB5E5-B7F1-4087-9CE8-FA7F4126B903}" dt="2025-06-23T10:38:40.509" v="58" actId="47"/>
        <pc:sldMkLst>
          <pc:docMk/>
          <pc:sldMk cId="2074570712" sldId="2147483588"/>
        </pc:sldMkLst>
      </pc:sldChg>
      <pc:sldChg chg="del">
        <pc:chgData name="Pio Parma" userId="9f05d00a-e537-49d7-8068-10844eaca034" providerId="ADAL" clId="{B63DB5E5-B7F1-4087-9CE8-FA7F4126B903}" dt="2025-06-23T10:38:40.509" v="58" actId="47"/>
        <pc:sldMkLst>
          <pc:docMk/>
          <pc:sldMk cId="3741841095" sldId="2147483589"/>
        </pc:sldMkLst>
      </pc:sldChg>
      <pc:sldChg chg="del">
        <pc:chgData name="Pio Parma" userId="9f05d00a-e537-49d7-8068-10844eaca034" providerId="ADAL" clId="{B63DB5E5-B7F1-4087-9CE8-FA7F4126B903}" dt="2025-06-23T10:38:40.509" v="58" actId="47"/>
        <pc:sldMkLst>
          <pc:docMk/>
          <pc:sldMk cId="3233059704" sldId="2147483590"/>
        </pc:sldMkLst>
      </pc:sldChg>
      <pc:sldChg chg="del">
        <pc:chgData name="Pio Parma" userId="9f05d00a-e537-49d7-8068-10844eaca034" providerId="ADAL" clId="{B63DB5E5-B7F1-4087-9CE8-FA7F4126B903}" dt="2025-06-23T10:38:40.509" v="58" actId="47"/>
        <pc:sldMkLst>
          <pc:docMk/>
          <pc:sldMk cId="4046317273" sldId="2147483594"/>
        </pc:sldMkLst>
      </pc:sldChg>
      <pc:sldChg chg="modSp mod">
        <pc:chgData name="Pio Parma" userId="9f05d00a-e537-49d7-8068-10844eaca034" providerId="ADAL" clId="{B63DB5E5-B7F1-4087-9CE8-FA7F4126B903}" dt="2025-06-23T13:09:26.395" v="1217" actId="14100"/>
        <pc:sldMkLst>
          <pc:docMk/>
          <pc:sldMk cId="1856985895" sldId="2147483595"/>
        </pc:sldMkLst>
      </pc:sldChg>
      <pc:sldChg chg="del">
        <pc:chgData name="Pio Parma" userId="9f05d00a-e537-49d7-8068-10844eaca034" providerId="ADAL" clId="{B63DB5E5-B7F1-4087-9CE8-FA7F4126B903}" dt="2025-06-23T10:38:40.509" v="58" actId="47"/>
        <pc:sldMkLst>
          <pc:docMk/>
          <pc:sldMk cId="374715395" sldId="2147483596"/>
        </pc:sldMkLst>
      </pc:sldChg>
      <pc:sldChg chg="modSp mod">
        <pc:chgData name="Pio Parma" userId="9f05d00a-e537-49d7-8068-10844eaca034" providerId="ADAL" clId="{B63DB5E5-B7F1-4087-9CE8-FA7F4126B903}" dt="2025-06-23T13:10:31.322" v="1243"/>
        <pc:sldMkLst>
          <pc:docMk/>
          <pc:sldMk cId="482727967" sldId="2147483603"/>
        </pc:sldMkLst>
      </pc:sldChg>
      <pc:sldChg chg="del">
        <pc:chgData name="Pio Parma" userId="9f05d00a-e537-49d7-8068-10844eaca034" providerId="ADAL" clId="{B63DB5E5-B7F1-4087-9CE8-FA7F4126B903}" dt="2025-06-23T10:32:46.934" v="13" actId="47"/>
        <pc:sldMkLst>
          <pc:docMk/>
          <pc:sldMk cId="2244534018" sldId="2147483608"/>
        </pc:sldMkLst>
      </pc:sldChg>
      <pc:sldChg chg="del">
        <pc:chgData name="Pio Parma" userId="9f05d00a-e537-49d7-8068-10844eaca034" providerId="ADAL" clId="{B63DB5E5-B7F1-4087-9CE8-FA7F4126B903}" dt="2025-06-23T10:34:15.687" v="43" actId="47"/>
        <pc:sldMkLst>
          <pc:docMk/>
          <pc:sldMk cId="2217117567" sldId="2147483609"/>
        </pc:sldMkLst>
      </pc:sldChg>
      <pc:sldChg chg="del">
        <pc:chgData name="Pio Parma" userId="9f05d00a-e537-49d7-8068-10844eaca034" providerId="ADAL" clId="{B63DB5E5-B7F1-4087-9CE8-FA7F4126B903}" dt="2025-06-23T10:38:40.509" v="58" actId="47"/>
        <pc:sldMkLst>
          <pc:docMk/>
          <pc:sldMk cId="1182021455" sldId="2147483610"/>
        </pc:sldMkLst>
      </pc:sldChg>
      <pc:sldChg chg="del">
        <pc:chgData name="Pio Parma" userId="9f05d00a-e537-49d7-8068-10844eaca034" providerId="ADAL" clId="{B63DB5E5-B7F1-4087-9CE8-FA7F4126B903}" dt="2025-06-23T10:38:53.584" v="60" actId="47"/>
        <pc:sldMkLst>
          <pc:docMk/>
          <pc:sldMk cId="1364321502" sldId="2147483611"/>
        </pc:sldMkLst>
      </pc:sldChg>
      <pc:sldChg chg="del">
        <pc:chgData name="Pio Parma" userId="9f05d00a-e537-49d7-8068-10844eaca034" providerId="ADAL" clId="{B63DB5E5-B7F1-4087-9CE8-FA7F4126B903}" dt="2025-06-23T10:39:19.640" v="67" actId="47"/>
        <pc:sldMkLst>
          <pc:docMk/>
          <pc:sldMk cId="1914368065" sldId="2147483612"/>
        </pc:sldMkLst>
      </pc:sldChg>
      <pc:sldChg chg="del">
        <pc:chgData name="Pio Parma" userId="9f05d00a-e537-49d7-8068-10844eaca034" providerId="ADAL" clId="{B63DB5E5-B7F1-4087-9CE8-FA7F4126B903}" dt="2025-06-23T10:35:04.685" v="51" actId="47"/>
        <pc:sldMkLst>
          <pc:docMk/>
          <pc:sldMk cId="1574848911" sldId="2147483613"/>
        </pc:sldMkLst>
      </pc:sldChg>
      <pc:sldChg chg="modSp add mod">
        <pc:chgData name="Pio Parma" userId="9f05d00a-e537-49d7-8068-10844eaca034" providerId="ADAL" clId="{B63DB5E5-B7F1-4087-9CE8-FA7F4126B903}" dt="2025-06-23T10:34:40.044" v="49" actId="403"/>
        <pc:sldMkLst>
          <pc:docMk/>
          <pc:sldMk cId="3554228558" sldId="2147483614"/>
        </pc:sldMkLst>
      </pc:sldChg>
      <pc:sldChg chg="modSp add mod">
        <pc:chgData name="Pio Parma" userId="9f05d00a-e537-49d7-8068-10844eaca034" providerId="ADAL" clId="{B63DB5E5-B7F1-4087-9CE8-FA7F4126B903}" dt="2025-06-23T13:10:11.125" v="1239" actId="20577"/>
        <pc:sldMkLst>
          <pc:docMk/>
          <pc:sldMk cId="3006544109" sldId="2147483615"/>
        </pc:sldMkLst>
      </pc:sldChg>
      <pc:sldChg chg="modSp add mod">
        <pc:chgData name="Pio Parma" userId="9f05d00a-e537-49d7-8068-10844eaca034" providerId="ADAL" clId="{B63DB5E5-B7F1-4087-9CE8-FA7F4126B903}" dt="2025-06-23T13:11:02.416" v="1245"/>
        <pc:sldMkLst>
          <pc:docMk/>
          <pc:sldMk cId="875772413" sldId="2147483616"/>
        </pc:sldMkLst>
      </pc:sldChg>
      <pc:sldChg chg="modSp add mod">
        <pc:chgData name="Pio Parma" userId="9f05d00a-e537-49d7-8068-10844eaca034" providerId="ADAL" clId="{B63DB5E5-B7F1-4087-9CE8-FA7F4126B903}" dt="2025-06-23T13:11:24.907" v="1246"/>
        <pc:sldMkLst>
          <pc:docMk/>
          <pc:sldMk cId="4114105445" sldId="2147483617"/>
        </pc:sldMkLst>
      </pc:sldChg>
      <pc:sldChg chg="addSp delSp modSp add mod modNotesTx">
        <pc:chgData name="Pio Parma" userId="9f05d00a-e537-49d7-8068-10844eaca034" providerId="ADAL" clId="{B63DB5E5-B7F1-4087-9CE8-FA7F4126B903}" dt="2025-06-23T13:34:23.138" v="1323"/>
        <pc:sldMkLst>
          <pc:docMk/>
          <pc:sldMk cId="131038984" sldId="2147483618"/>
        </pc:sldMkLst>
      </pc:sldChg>
      <pc:sldChg chg="addSp delSp modSp add mod ord">
        <pc:chgData name="Pio Parma" userId="9f05d00a-e537-49d7-8068-10844eaca034" providerId="ADAL" clId="{B63DB5E5-B7F1-4087-9CE8-FA7F4126B903}" dt="2025-06-23T13:05:39.044" v="1213" actId="20577"/>
        <pc:sldMkLst>
          <pc:docMk/>
          <pc:sldMk cId="189845450" sldId="2147483619"/>
        </pc:sldMkLst>
      </pc:sldChg>
      <pc:sldChg chg="add del">
        <pc:chgData name="Pio Parma" userId="9f05d00a-e537-49d7-8068-10844eaca034" providerId="ADAL" clId="{B63DB5E5-B7F1-4087-9CE8-FA7F4126B903}" dt="2025-06-23T13:01:02.043" v="1018"/>
        <pc:sldMkLst>
          <pc:docMk/>
          <pc:sldMk cId="3725410822" sldId="2147483620"/>
        </pc:sldMkLst>
      </pc:sldChg>
      <pc:sldMasterChg chg="delSldLayout">
        <pc:chgData name="Pio Parma" userId="9f05d00a-e537-49d7-8068-10844eaca034" providerId="ADAL" clId="{B63DB5E5-B7F1-4087-9CE8-FA7F4126B903}" dt="2025-06-23T10:39:25.189" v="68" actId="2696"/>
        <pc:sldMasterMkLst>
          <pc:docMk/>
          <pc:sldMasterMk cId="2584381504" sldId="2147484069"/>
        </pc:sldMasterMkLst>
        <pc:sldLayoutChg chg="del">
          <pc:chgData name="Pio Parma" userId="9f05d00a-e537-49d7-8068-10844eaca034" providerId="ADAL" clId="{B63DB5E5-B7F1-4087-9CE8-FA7F4126B903}" dt="2025-06-23T10:39:25.189" v="68" actId="2696"/>
          <pc:sldLayoutMkLst>
            <pc:docMk/>
            <pc:sldMasterMk cId="2584381504" sldId="2147484069"/>
            <pc:sldLayoutMk cId="2499355713" sldId="2147484120"/>
          </pc:sldLayoutMkLst>
        </pc:sldLayoutChg>
        <pc:sldLayoutChg chg="del">
          <pc:chgData name="Pio Parma" userId="9f05d00a-e537-49d7-8068-10844eaca034" providerId="ADAL" clId="{B63DB5E5-B7F1-4087-9CE8-FA7F4126B903}" dt="2025-06-23T10:39:25.189" v="68" actId="2696"/>
          <pc:sldLayoutMkLst>
            <pc:docMk/>
            <pc:sldMasterMk cId="2584381504" sldId="2147484069"/>
            <pc:sldLayoutMk cId="3191771264" sldId="2147484121"/>
          </pc:sldLayoutMkLst>
        </pc:sldLayoutChg>
      </pc:sldMasterChg>
    </pc:docChg>
  </pc:docChgLst>
  <pc:docChgLst>
    <pc:chgData name="Pio Parma" userId="9f05d00a-e537-49d7-8068-10844eaca034" providerId="ADAL" clId="{C1CE429F-B11C-4E27-9CFF-89149C269316}"/>
    <pc:docChg chg="undo custSel addSld delSld modSld modMainMaster modSection">
      <pc:chgData name="Pio Parma" userId="9f05d00a-e537-49d7-8068-10844eaca034" providerId="ADAL" clId="{C1CE429F-B11C-4E27-9CFF-89149C269316}" dt="2025-06-24T23:31:24.721" v="1965" actId="20577"/>
      <pc:docMkLst>
        <pc:docMk/>
      </pc:docMkLst>
      <pc:sldChg chg="del">
        <pc:chgData name="Pio Parma" userId="9f05d00a-e537-49d7-8068-10844eaca034" providerId="ADAL" clId="{C1CE429F-B11C-4E27-9CFF-89149C269316}" dt="2025-06-24T22:27:14.460" v="326" actId="47"/>
        <pc:sldMkLst>
          <pc:docMk/>
          <pc:sldMk cId="2695651586" sldId="3420"/>
        </pc:sldMkLst>
      </pc:sldChg>
      <pc:sldChg chg="del">
        <pc:chgData name="Pio Parma" userId="9f05d00a-e537-49d7-8068-10844eaca034" providerId="ADAL" clId="{C1CE429F-B11C-4E27-9CFF-89149C269316}" dt="2025-06-24T22:27:14.460" v="326" actId="47"/>
        <pc:sldMkLst>
          <pc:docMk/>
          <pc:sldMk cId="3282100996" sldId="4920"/>
        </pc:sldMkLst>
      </pc:sldChg>
      <pc:sldChg chg="del">
        <pc:chgData name="Pio Parma" userId="9f05d00a-e537-49d7-8068-10844eaca034" providerId="ADAL" clId="{C1CE429F-B11C-4E27-9CFF-89149C269316}" dt="2025-06-24T22:27:14.460" v="326" actId="47"/>
        <pc:sldMkLst>
          <pc:docMk/>
          <pc:sldMk cId="1723374067" sldId="2147375665"/>
        </pc:sldMkLst>
      </pc:sldChg>
      <pc:sldChg chg="del">
        <pc:chgData name="Pio Parma" userId="9f05d00a-e537-49d7-8068-10844eaca034" providerId="ADAL" clId="{C1CE429F-B11C-4E27-9CFF-89149C269316}" dt="2025-06-24T22:27:14.460" v="326" actId="47"/>
        <pc:sldMkLst>
          <pc:docMk/>
          <pc:sldMk cId="3843233418" sldId="2147375824"/>
        </pc:sldMkLst>
      </pc:sldChg>
      <pc:sldChg chg="del">
        <pc:chgData name="Pio Parma" userId="9f05d00a-e537-49d7-8068-10844eaca034" providerId="ADAL" clId="{C1CE429F-B11C-4E27-9CFF-89149C269316}" dt="2025-06-24T22:27:14.460" v="326" actId="47"/>
        <pc:sldMkLst>
          <pc:docMk/>
          <pc:sldMk cId="3626902929" sldId="2147376464"/>
        </pc:sldMkLst>
      </pc:sldChg>
      <pc:sldChg chg="del">
        <pc:chgData name="Pio Parma" userId="9f05d00a-e537-49d7-8068-10844eaca034" providerId="ADAL" clId="{C1CE429F-B11C-4E27-9CFF-89149C269316}" dt="2025-06-24T22:27:14.460" v="326" actId="47"/>
        <pc:sldMkLst>
          <pc:docMk/>
          <pc:sldMk cId="1247733769" sldId="2147376465"/>
        </pc:sldMkLst>
      </pc:sldChg>
      <pc:sldChg chg="addSp delSp modSp mod">
        <pc:chgData name="Pio Parma" userId="9f05d00a-e537-49d7-8068-10844eaca034" providerId="ADAL" clId="{C1CE429F-B11C-4E27-9CFF-89149C269316}" dt="2025-06-24T23:16:01.514" v="1516" actId="207"/>
        <pc:sldMkLst>
          <pc:docMk/>
          <pc:sldMk cId="2590303566" sldId="2147376736"/>
        </pc:sldMkLst>
        <pc:spChg chg="mod">
          <ac:chgData name="Pio Parma" userId="9f05d00a-e537-49d7-8068-10844eaca034" providerId="ADAL" clId="{C1CE429F-B11C-4E27-9CFF-89149C269316}" dt="2025-06-24T23:16:01.514" v="1516" actId="207"/>
          <ac:spMkLst>
            <pc:docMk/>
            <pc:sldMk cId="2590303566" sldId="2147376736"/>
            <ac:spMk id="8" creationId="{3CAC02F9-6A35-07CD-375F-65B1BE4A040B}"/>
          </ac:spMkLst>
        </pc:spChg>
        <pc:picChg chg="add mod modCrop">
          <ac:chgData name="Pio Parma" userId="9f05d00a-e537-49d7-8068-10844eaca034" providerId="ADAL" clId="{C1CE429F-B11C-4E27-9CFF-89149C269316}" dt="2025-06-24T22:24:19.485" v="147" actId="1036"/>
          <ac:picMkLst>
            <pc:docMk/>
            <pc:sldMk cId="2590303566" sldId="2147376736"/>
            <ac:picMk id="4" creationId="{624FAAEB-D3F7-B5A0-DA90-1DD72CF8E0FE}"/>
          </ac:picMkLst>
        </pc:picChg>
        <pc:picChg chg="add del mod">
          <ac:chgData name="Pio Parma" userId="9f05d00a-e537-49d7-8068-10844eaca034" providerId="ADAL" clId="{C1CE429F-B11C-4E27-9CFF-89149C269316}" dt="2025-06-24T22:46:48.353" v="797" actId="478"/>
          <ac:picMkLst>
            <pc:docMk/>
            <pc:sldMk cId="2590303566" sldId="2147376736"/>
            <ac:picMk id="7" creationId="{46FF775A-4722-5CA0-C2AF-30A09320FFA7}"/>
          </ac:picMkLst>
        </pc:picChg>
        <pc:picChg chg="add del mod modCrop">
          <ac:chgData name="Pio Parma" userId="9f05d00a-e537-49d7-8068-10844eaca034" providerId="ADAL" clId="{C1CE429F-B11C-4E27-9CFF-89149C269316}" dt="2025-06-24T22:48:26.784" v="854" actId="478"/>
          <ac:picMkLst>
            <pc:docMk/>
            <pc:sldMk cId="2590303566" sldId="2147376736"/>
            <ac:picMk id="10" creationId="{B79ACDEC-7DBD-4F3E-9913-898BA0F23443}"/>
          </ac:picMkLst>
        </pc:picChg>
        <pc:picChg chg="del">
          <ac:chgData name="Pio Parma" userId="9f05d00a-e537-49d7-8068-10844eaca034" providerId="ADAL" clId="{C1CE429F-B11C-4E27-9CFF-89149C269316}" dt="2025-06-24T22:20:49.754" v="0" actId="478"/>
          <ac:picMkLst>
            <pc:docMk/>
            <pc:sldMk cId="2590303566" sldId="2147376736"/>
            <ac:picMk id="21" creationId="{9E47A056-8E59-456E-9105-6A85DF78262F}"/>
          </ac:picMkLst>
        </pc:picChg>
        <pc:picChg chg="del">
          <ac:chgData name="Pio Parma" userId="9f05d00a-e537-49d7-8068-10844eaca034" providerId="ADAL" clId="{C1CE429F-B11C-4E27-9CFF-89149C269316}" dt="2025-06-24T22:21:16.208" v="1" actId="478"/>
          <ac:picMkLst>
            <pc:docMk/>
            <pc:sldMk cId="2590303566" sldId="2147376736"/>
            <ac:picMk id="29" creationId="{E8B9141B-261E-BDA5-8FEF-0BBED522EB35}"/>
          </ac:picMkLst>
        </pc:picChg>
      </pc:sldChg>
      <pc:sldChg chg="del">
        <pc:chgData name="Pio Parma" userId="9f05d00a-e537-49d7-8068-10844eaca034" providerId="ADAL" clId="{C1CE429F-B11C-4E27-9CFF-89149C269316}" dt="2025-06-24T22:27:14.460" v="326" actId="47"/>
        <pc:sldMkLst>
          <pc:docMk/>
          <pc:sldMk cId="599624620" sldId="2147376738"/>
        </pc:sldMkLst>
      </pc:sldChg>
      <pc:sldChg chg="del">
        <pc:chgData name="Pio Parma" userId="9f05d00a-e537-49d7-8068-10844eaca034" providerId="ADAL" clId="{C1CE429F-B11C-4E27-9CFF-89149C269316}" dt="2025-06-24T22:27:14.460" v="326" actId="47"/>
        <pc:sldMkLst>
          <pc:docMk/>
          <pc:sldMk cId="3426583101" sldId="2147471605"/>
        </pc:sldMkLst>
      </pc:sldChg>
      <pc:sldChg chg="del">
        <pc:chgData name="Pio Parma" userId="9f05d00a-e537-49d7-8068-10844eaca034" providerId="ADAL" clId="{C1CE429F-B11C-4E27-9CFF-89149C269316}" dt="2025-06-24T22:27:14.460" v="326" actId="47"/>
        <pc:sldMkLst>
          <pc:docMk/>
          <pc:sldMk cId="2858390188" sldId="2147472039"/>
        </pc:sldMkLst>
      </pc:sldChg>
      <pc:sldChg chg="del">
        <pc:chgData name="Pio Parma" userId="9f05d00a-e537-49d7-8068-10844eaca034" providerId="ADAL" clId="{C1CE429F-B11C-4E27-9CFF-89149C269316}" dt="2025-06-24T22:27:14.460" v="326" actId="47"/>
        <pc:sldMkLst>
          <pc:docMk/>
          <pc:sldMk cId="85376976" sldId="2147472209"/>
        </pc:sldMkLst>
      </pc:sldChg>
      <pc:sldChg chg="del">
        <pc:chgData name="Pio Parma" userId="9f05d00a-e537-49d7-8068-10844eaca034" providerId="ADAL" clId="{C1CE429F-B11C-4E27-9CFF-89149C269316}" dt="2025-06-24T22:27:14.460" v="326" actId="47"/>
        <pc:sldMkLst>
          <pc:docMk/>
          <pc:sldMk cId="1154538665" sldId="2147472228"/>
        </pc:sldMkLst>
      </pc:sldChg>
      <pc:sldChg chg="del">
        <pc:chgData name="Pio Parma" userId="9f05d00a-e537-49d7-8068-10844eaca034" providerId="ADAL" clId="{C1CE429F-B11C-4E27-9CFF-89149C269316}" dt="2025-06-24T22:27:14.460" v="326" actId="47"/>
        <pc:sldMkLst>
          <pc:docMk/>
          <pc:sldMk cId="4182456349" sldId="2147472254"/>
        </pc:sldMkLst>
      </pc:sldChg>
      <pc:sldChg chg="del">
        <pc:chgData name="Pio Parma" userId="9f05d00a-e537-49d7-8068-10844eaca034" providerId="ADAL" clId="{C1CE429F-B11C-4E27-9CFF-89149C269316}" dt="2025-06-24T22:27:14.460" v="326" actId="47"/>
        <pc:sldMkLst>
          <pc:docMk/>
          <pc:sldMk cId="27356205" sldId="2147472263"/>
        </pc:sldMkLst>
      </pc:sldChg>
      <pc:sldChg chg="del">
        <pc:chgData name="Pio Parma" userId="9f05d00a-e537-49d7-8068-10844eaca034" providerId="ADAL" clId="{C1CE429F-B11C-4E27-9CFF-89149C269316}" dt="2025-06-24T22:27:14.460" v="326" actId="47"/>
        <pc:sldMkLst>
          <pc:docMk/>
          <pc:sldMk cId="455048317" sldId="2147472271"/>
        </pc:sldMkLst>
      </pc:sldChg>
      <pc:sldChg chg="del">
        <pc:chgData name="Pio Parma" userId="9f05d00a-e537-49d7-8068-10844eaca034" providerId="ADAL" clId="{C1CE429F-B11C-4E27-9CFF-89149C269316}" dt="2025-06-24T22:27:14.460" v="326" actId="47"/>
        <pc:sldMkLst>
          <pc:docMk/>
          <pc:sldMk cId="1515441117" sldId="2147472318"/>
        </pc:sldMkLst>
      </pc:sldChg>
      <pc:sldChg chg="del">
        <pc:chgData name="Pio Parma" userId="9f05d00a-e537-49d7-8068-10844eaca034" providerId="ADAL" clId="{C1CE429F-B11C-4E27-9CFF-89149C269316}" dt="2025-06-24T22:27:14.460" v="326" actId="47"/>
        <pc:sldMkLst>
          <pc:docMk/>
          <pc:sldMk cId="3690000844" sldId="2147472343"/>
        </pc:sldMkLst>
      </pc:sldChg>
      <pc:sldChg chg="del">
        <pc:chgData name="Pio Parma" userId="9f05d00a-e537-49d7-8068-10844eaca034" providerId="ADAL" clId="{C1CE429F-B11C-4E27-9CFF-89149C269316}" dt="2025-06-24T22:27:14.460" v="326" actId="47"/>
        <pc:sldMkLst>
          <pc:docMk/>
          <pc:sldMk cId="2933243154" sldId="2147472344"/>
        </pc:sldMkLst>
      </pc:sldChg>
      <pc:sldChg chg="del">
        <pc:chgData name="Pio Parma" userId="9f05d00a-e537-49d7-8068-10844eaca034" providerId="ADAL" clId="{C1CE429F-B11C-4E27-9CFF-89149C269316}" dt="2025-06-24T22:27:14.460" v="326" actId="47"/>
        <pc:sldMkLst>
          <pc:docMk/>
          <pc:sldMk cId="2471418935" sldId="2147472349"/>
        </pc:sldMkLst>
      </pc:sldChg>
      <pc:sldChg chg="del">
        <pc:chgData name="Pio Parma" userId="9f05d00a-e537-49d7-8068-10844eaca034" providerId="ADAL" clId="{C1CE429F-B11C-4E27-9CFF-89149C269316}" dt="2025-06-24T22:27:14.460" v="326" actId="47"/>
        <pc:sldMkLst>
          <pc:docMk/>
          <pc:sldMk cId="636538149" sldId="2147472359"/>
        </pc:sldMkLst>
      </pc:sldChg>
      <pc:sldChg chg="del">
        <pc:chgData name="Pio Parma" userId="9f05d00a-e537-49d7-8068-10844eaca034" providerId="ADAL" clId="{C1CE429F-B11C-4E27-9CFF-89149C269316}" dt="2025-06-24T22:27:14.460" v="326" actId="47"/>
        <pc:sldMkLst>
          <pc:docMk/>
          <pc:sldMk cId="2377423638" sldId="2147472363"/>
        </pc:sldMkLst>
      </pc:sldChg>
      <pc:sldChg chg="del">
        <pc:chgData name="Pio Parma" userId="9f05d00a-e537-49d7-8068-10844eaca034" providerId="ADAL" clId="{C1CE429F-B11C-4E27-9CFF-89149C269316}" dt="2025-06-24T22:27:14.460" v="326" actId="47"/>
        <pc:sldMkLst>
          <pc:docMk/>
          <pc:sldMk cId="3610989620" sldId="2147472393"/>
        </pc:sldMkLst>
      </pc:sldChg>
      <pc:sldChg chg="del">
        <pc:chgData name="Pio Parma" userId="9f05d00a-e537-49d7-8068-10844eaca034" providerId="ADAL" clId="{C1CE429F-B11C-4E27-9CFF-89149C269316}" dt="2025-06-24T22:27:14.460" v="326" actId="47"/>
        <pc:sldMkLst>
          <pc:docMk/>
          <pc:sldMk cId="3078591797" sldId="2147472404"/>
        </pc:sldMkLst>
      </pc:sldChg>
      <pc:sldChg chg="del">
        <pc:chgData name="Pio Parma" userId="9f05d00a-e537-49d7-8068-10844eaca034" providerId="ADAL" clId="{C1CE429F-B11C-4E27-9CFF-89149C269316}" dt="2025-06-24T22:27:14.460" v="326" actId="47"/>
        <pc:sldMkLst>
          <pc:docMk/>
          <pc:sldMk cId="1402534936" sldId="2147472427"/>
        </pc:sldMkLst>
      </pc:sldChg>
      <pc:sldChg chg="del">
        <pc:chgData name="Pio Parma" userId="9f05d00a-e537-49d7-8068-10844eaca034" providerId="ADAL" clId="{C1CE429F-B11C-4E27-9CFF-89149C269316}" dt="2025-06-24T22:27:14.460" v="326" actId="47"/>
        <pc:sldMkLst>
          <pc:docMk/>
          <pc:sldMk cId="1011907902" sldId="2147472430"/>
        </pc:sldMkLst>
      </pc:sldChg>
      <pc:sldChg chg="del">
        <pc:chgData name="Pio Parma" userId="9f05d00a-e537-49d7-8068-10844eaca034" providerId="ADAL" clId="{C1CE429F-B11C-4E27-9CFF-89149C269316}" dt="2025-06-24T22:27:14.460" v="326" actId="47"/>
        <pc:sldMkLst>
          <pc:docMk/>
          <pc:sldMk cId="4172678325" sldId="2147472439"/>
        </pc:sldMkLst>
      </pc:sldChg>
      <pc:sldChg chg="del">
        <pc:chgData name="Pio Parma" userId="9f05d00a-e537-49d7-8068-10844eaca034" providerId="ADAL" clId="{C1CE429F-B11C-4E27-9CFF-89149C269316}" dt="2025-06-24T22:27:14.460" v="326" actId="47"/>
        <pc:sldMkLst>
          <pc:docMk/>
          <pc:sldMk cId="2201983188" sldId="2147472455"/>
        </pc:sldMkLst>
      </pc:sldChg>
      <pc:sldChg chg="del">
        <pc:chgData name="Pio Parma" userId="9f05d00a-e537-49d7-8068-10844eaca034" providerId="ADAL" clId="{C1CE429F-B11C-4E27-9CFF-89149C269316}" dt="2025-06-24T22:27:14.460" v="326" actId="47"/>
        <pc:sldMkLst>
          <pc:docMk/>
          <pc:sldMk cId="359380087" sldId="2147472467"/>
        </pc:sldMkLst>
      </pc:sldChg>
      <pc:sldChg chg="del">
        <pc:chgData name="Pio Parma" userId="9f05d00a-e537-49d7-8068-10844eaca034" providerId="ADAL" clId="{C1CE429F-B11C-4E27-9CFF-89149C269316}" dt="2025-06-24T22:27:14.460" v="326" actId="47"/>
        <pc:sldMkLst>
          <pc:docMk/>
          <pc:sldMk cId="1142706462" sldId="2147472468"/>
        </pc:sldMkLst>
      </pc:sldChg>
      <pc:sldChg chg="del">
        <pc:chgData name="Pio Parma" userId="9f05d00a-e537-49d7-8068-10844eaca034" providerId="ADAL" clId="{C1CE429F-B11C-4E27-9CFF-89149C269316}" dt="2025-06-24T22:27:14.460" v="326" actId="47"/>
        <pc:sldMkLst>
          <pc:docMk/>
          <pc:sldMk cId="4283287526" sldId="2147472566"/>
        </pc:sldMkLst>
      </pc:sldChg>
      <pc:sldChg chg="del">
        <pc:chgData name="Pio Parma" userId="9f05d00a-e537-49d7-8068-10844eaca034" providerId="ADAL" clId="{C1CE429F-B11C-4E27-9CFF-89149C269316}" dt="2025-06-24T22:27:14.460" v="326" actId="47"/>
        <pc:sldMkLst>
          <pc:docMk/>
          <pc:sldMk cId="993144069" sldId="2147472586"/>
        </pc:sldMkLst>
      </pc:sldChg>
      <pc:sldChg chg="del">
        <pc:chgData name="Pio Parma" userId="9f05d00a-e537-49d7-8068-10844eaca034" providerId="ADAL" clId="{C1CE429F-B11C-4E27-9CFF-89149C269316}" dt="2025-06-24T22:27:14.460" v="326" actId="47"/>
        <pc:sldMkLst>
          <pc:docMk/>
          <pc:sldMk cId="3733879885" sldId="2147474192"/>
        </pc:sldMkLst>
      </pc:sldChg>
      <pc:sldChg chg="del">
        <pc:chgData name="Pio Parma" userId="9f05d00a-e537-49d7-8068-10844eaca034" providerId="ADAL" clId="{C1CE429F-B11C-4E27-9CFF-89149C269316}" dt="2025-06-24T22:27:14.460" v="326" actId="47"/>
        <pc:sldMkLst>
          <pc:docMk/>
          <pc:sldMk cId="3469178136" sldId="2147474211"/>
        </pc:sldMkLst>
      </pc:sldChg>
      <pc:sldChg chg="del">
        <pc:chgData name="Pio Parma" userId="9f05d00a-e537-49d7-8068-10844eaca034" providerId="ADAL" clId="{C1CE429F-B11C-4E27-9CFF-89149C269316}" dt="2025-06-24T22:27:14.460" v="326" actId="47"/>
        <pc:sldMkLst>
          <pc:docMk/>
          <pc:sldMk cId="1980887097" sldId="2147474223"/>
        </pc:sldMkLst>
      </pc:sldChg>
      <pc:sldChg chg="del">
        <pc:chgData name="Pio Parma" userId="9f05d00a-e537-49d7-8068-10844eaca034" providerId="ADAL" clId="{C1CE429F-B11C-4E27-9CFF-89149C269316}" dt="2025-06-24T22:27:14.460" v="326" actId="47"/>
        <pc:sldMkLst>
          <pc:docMk/>
          <pc:sldMk cId="1508278478" sldId="2147474234"/>
        </pc:sldMkLst>
      </pc:sldChg>
      <pc:sldChg chg="del">
        <pc:chgData name="Pio Parma" userId="9f05d00a-e537-49d7-8068-10844eaca034" providerId="ADAL" clId="{C1CE429F-B11C-4E27-9CFF-89149C269316}" dt="2025-06-24T22:27:14.460" v="326" actId="47"/>
        <pc:sldMkLst>
          <pc:docMk/>
          <pc:sldMk cId="3468606266" sldId="2147474250"/>
        </pc:sldMkLst>
      </pc:sldChg>
      <pc:sldChg chg="del">
        <pc:chgData name="Pio Parma" userId="9f05d00a-e537-49d7-8068-10844eaca034" providerId="ADAL" clId="{C1CE429F-B11C-4E27-9CFF-89149C269316}" dt="2025-06-24T22:27:14.460" v="326" actId="47"/>
        <pc:sldMkLst>
          <pc:docMk/>
          <pc:sldMk cId="3372711674" sldId="2147474254"/>
        </pc:sldMkLst>
      </pc:sldChg>
      <pc:sldChg chg="del">
        <pc:chgData name="Pio Parma" userId="9f05d00a-e537-49d7-8068-10844eaca034" providerId="ADAL" clId="{C1CE429F-B11C-4E27-9CFF-89149C269316}" dt="2025-06-24T22:27:14.460" v="326" actId="47"/>
        <pc:sldMkLst>
          <pc:docMk/>
          <pc:sldMk cId="4013179326" sldId="2147474255"/>
        </pc:sldMkLst>
      </pc:sldChg>
      <pc:sldChg chg="del">
        <pc:chgData name="Pio Parma" userId="9f05d00a-e537-49d7-8068-10844eaca034" providerId="ADAL" clId="{C1CE429F-B11C-4E27-9CFF-89149C269316}" dt="2025-06-24T22:27:14.460" v="326" actId="47"/>
        <pc:sldMkLst>
          <pc:docMk/>
          <pc:sldMk cId="314085202" sldId="2147474337"/>
        </pc:sldMkLst>
      </pc:sldChg>
      <pc:sldChg chg="del">
        <pc:chgData name="Pio Parma" userId="9f05d00a-e537-49d7-8068-10844eaca034" providerId="ADAL" clId="{C1CE429F-B11C-4E27-9CFF-89149C269316}" dt="2025-06-24T22:27:14.460" v="326" actId="47"/>
        <pc:sldMkLst>
          <pc:docMk/>
          <pc:sldMk cId="2711674008" sldId="2147474338"/>
        </pc:sldMkLst>
      </pc:sldChg>
      <pc:sldChg chg="del">
        <pc:chgData name="Pio Parma" userId="9f05d00a-e537-49d7-8068-10844eaca034" providerId="ADAL" clId="{C1CE429F-B11C-4E27-9CFF-89149C269316}" dt="2025-06-24T22:27:14.460" v="326" actId="47"/>
        <pc:sldMkLst>
          <pc:docMk/>
          <pc:sldMk cId="4115754565" sldId="2147474339"/>
        </pc:sldMkLst>
      </pc:sldChg>
      <pc:sldChg chg="delSp modSp add mod modNotes">
        <pc:chgData name="Pio Parma" userId="9f05d00a-e537-49d7-8068-10844eaca034" providerId="ADAL" clId="{C1CE429F-B11C-4E27-9CFF-89149C269316}" dt="2025-06-24T23:29:43.245" v="1883" actId="20577"/>
        <pc:sldMkLst>
          <pc:docMk/>
          <pc:sldMk cId="1942777628" sldId="2147474620"/>
        </pc:sldMkLst>
        <pc:spChg chg="del">
          <ac:chgData name="Pio Parma" userId="9f05d00a-e537-49d7-8068-10844eaca034" providerId="ADAL" clId="{C1CE429F-B11C-4E27-9CFF-89149C269316}" dt="2025-06-24T22:38:46.777" v="481" actId="478"/>
          <ac:spMkLst>
            <pc:docMk/>
            <pc:sldMk cId="1942777628" sldId="2147474620"/>
            <ac:spMk id="4" creationId="{70CE533D-9722-2AA9-9B26-597B384DB413}"/>
          </ac:spMkLst>
        </pc:spChg>
        <pc:spChg chg="mod">
          <ac:chgData name="Pio Parma" userId="9f05d00a-e537-49d7-8068-10844eaca034" providerId="ADAL" clId="{C1CE429F-B11C-4E27-9CFF-89149C269316}" dt="2025-06-24T23:29:43.245" v="1883" actId="20577"/>
          <ac:spMkLst>
            <pc:docMk/>
            <pc:sldMk cId="1942777628" sldId="2147474620"/>
            <ac:spMk id="5" creationId="{9EEF2984-D2BE-D2AD-D9AB-67D543330C61}"/>
          </ac:spMkLst>
        </pc:spChg>
        <pc:spChg chg="mod">
          <ac:chgData name="Pio Parma" userId="9f05d00a-e537-49d7-8068-10844eaca034" providerId="ADAL" clId="{C1CE429F-B11C-4E27-9CFF-89149C269316}" dt="2025-06-24T22:51:49.879" v="908" actId="1038"/>
          <ac:spMkLst>
            <pc:docMk/>
            <pc:sldMk cId="1942777628" sldId="2147474620"/>
            <ac:spMk id="7" creationId="{9CA94DE4-FB20-DFD7-60B9-848512D4A9E6}"/>
          </ac:spMkLst>
        </pc:spChg>
        <pc:spChg chg="mod">
          <ac:chgData name="Pio Parma" userId="9f05d00a-e537-49d7-8068-10844eaca034" providerId="ADAL" clId="{C1CE429F-B11C-4E27-9CFF-89149C269316}" dt="2025-06-24T23:03:31.105" v="1189" actId="948"/>
          <ac:spMkLst>
            <pc:docMk/>
            <pc:sldMk cId="1942777628" sldId="2147474620"/>
            <ac:spMk id="12" creationId="{2340D7B0-C6D8-7DDB-5E1D-9D6FA2F63BF8}"/>
          </ac:spMkLst>
        </pc:spChg>
      </pc:sldChg>
      <pc:sldChg chg="delSp modSp add mod">
        <pc:chgData name="Pio Parma" userId="9f05d00a-e537-49d7-8068-10844eaca034" providerId="ADAL" clId="{C1CE429F-B11C-4E27-9CFF-89149C269316}" dt="2025-06-24T23:29:07.700" v="1853" actId="1038"/>
        <pc:sldMkLst>
          <pc:docMk/>
          <pc:sldMk cId="3150383220" sldId="2147474644"/>
        </pc:sldMkLst>
        <pc:spChg chg="mod">
          <ac:chgData name="Pio Parma" userId="9f05d00a-e537-49d7-8068-10844eaca034" providerId="ADAL" clId="{C1CE429F-B11C-4E27-9CFF-89149C269316}" dt="2025-06-24T22:51:40.748" v="898" actId="1035"/>
          <ac:spMkLst>
            <pc:docMk/>
            <pc:sldMk cId="3150383220" sldId="2147474644"/>
            <ac:spMk id="4" creationId="{D3833F0D-3A4E-5799-8896-89CCC5BC1F25}"/>
          </ac:spMkLst>
        </pc:spChg>
        <pc:spChg chg="del">
          <ac:chgData name="Pio Parma" userId="9f05d00a-e537-49d7-8068-10844eaca034" providerId="ADAL" clId="{C1CE429F-B11C-4E27-9CFF-89149C269316}" dt="2025-06-24T22:34:56.114" v="391" actId="478"/>
          <ac:spMkLst>
            <pc:docMk/>
            <pc:sldMk cId="3150383220" sldId="2147474644"/>
            <ac:spMk id="12" creationId="{5BC211F5-DF50-3270-4EF6-377E060B2194}"/>
          </ac:spMkLst>
        </pc:spChg>
        <pc:spChg chg="mod">
          <ac:chgData name="Pio Parma" userId="9f05d00a-e537-49d7-8068-10844eaca034" providerId="ADAL" clId="{C1CE429F-B11C-4E27-9CFF-89149C269316}" dt="2025-06-24T23:29:07.700" v="1853" actId="1038"/>
          <ac:spMkLst>
            <pc:docMk/>
            <pc:sldMk cId="3150383220" sldId="2147474644"/>
            <ac:spMk id="17" creationId="{BD9DEFF3-1C94-A82C-8FB6-6F012F05F544}"/>
          </ac:spMkLst>
        </pc:spChg>
        <pc:cxnChg chg="mod">
          <ac:chgData name="Pio Parma" userId="9f05d00a-e537-49d7-8068-10844eaca034" providerId="ADAL" clId="{C1CE429F-B11C-4E27-9CFF-89149C269316}" dt="2025-06-24T23:28:22.110" v="1824" actId="1037"/>
          <ac:cxnSpMkLst>
            <pc:docMk/>
            <pc:sldMk cId="3150383220" sldId="2147474644"/>
            <ac:cxnSpMk id="11" creationId="{54AD305E-C14D-3D0B-5E4B-97F87BC5B79B}"/>
          </ac:cxnSpMkLst>
        </pc:cxnChg>
      </pc:sldChg>
      <pc:sldChg chg="del">
        <pc:chgData name="Pio Parma" userId="9f05d00a-e537-49d7-8068-10844eaca034" providerId="ADAL" clId="{C1CE429F-B11C-4E27-9CFF-89149C269316}" dt="2025-06-24T22:44:39.509" v="744" actId="47"/>
        <pc:sldMkLst>
          <pc:docMk/>
          <pc:sldMk cId="214524993" sldId="2147474664"/>
        </pc:sldMkLst>
      </pc:sldChg>
      <pc:sldChg chg="add del">
        <pc:chgData name="Pio Parma" userId="9f05d00a-e537-49d7-8068-10844eaca034" providerId="ADAL" clId="{C1CE429F-B11C-4E27-9CFF-89149C269316}" dt="2025-06-24T22:34:37.105" v="389" actId="47"/>
        <pc:sldMkLst>
          <pc:docMk/>
          <pc:sldMk cId="3144344138" sldId="2147474697"/>
        </pc:sldMkLst>
      </pc:sldChg>
      <pc:sldChg chg="del">
        <pc:chgData name="Pio Parma" userId="9f05d00a-e537-49d7-8068-10844eaca034" providerId="ADAL" clId="{C1CE429F-B11C-4E27-9CFF-89149C269316}" dt="2025-06-24T22:27:14.460" v="326" actId="47"/>
        <pc:sldMkLst>
          <pc:docMk/>
          <pc:sldMk cId="3020276720" sldId="2147474734"/>
        </pc:sldMkLst>
      </pc:sldChg>
      <pc:sldChg chg="del">
        <pc:chgData name="Pio Parma" userId="9f05d00a-e537-49d7-8068-10844eaca034" providerId="ADAL" clId="{C1CE429F-B11C-4E27-9CFF-89149C269316}" dt="2025-06-24T22:27:14.460" v="326" actId="47"/>
        <pc:sldMkLst>
          <pc:docMk/>
          <pc:sldMk cId="526873075" sldId="2147474735"/>
        </pc:sldMkLst>
      </pc:sldChg>
      <pc:sldChg chg="del">
        <pc:chgData name="Pio Parma" userId="9f05d00a-e537-49d7-8068-10844eaca034" providerId="ADAL" clId="{C1CE429F-B11C-4E27-9CFF-89149C269316}" dt="2025-06-24T22:27:14.460" v="326" actId="47"/>
        <pc:sldMkLst>
          <pc:docMk/>
          <pc:sldMk cId="3078170650" sldId="2147474747"/>
        </pc:sldMkLst>
      </pc:sldChg>
      <pc:sldChg chg="del">
        <pc:chgData name="Pio Parma" userId="9f05d00a-e537-49d7-8068-10844eaca034" providerId="ADAL" clId="{C1CE429F-B11C-4E27-9CFF-89149C269316}" dt="2025-06-24T22:27:14.460" v="326" actId="47"/>
        <pc:sldMkLst>
          <pc:docMk/>
          <pc:sldMk cId="220745552" sldId="2147474749"/>
        </pc:sldMkLst>
      </pc:sldChg>
      <pc:sldChg chg="del">
        <pc:chgData name="Pio Parma" userId="9f05d00a-e537-49d7-8068-10844eaca034" providerId="ADAL" clId="{C1CE429F-B11C-4E27-9CFF-89149C269316}" dt="2025-06-24T22:27:14.460" v="326" actId="47"/>
        <pc:sldMkLst>
          <pc:docMk/>
          <pc:sldMk cId="717741983" sldId="2147474757"/>
        </pc:sldMkLst>
      </pc:sldChg>
      <pc:sldChg chg="modSp mod">
        <pc:chgData name="Pio Parma" userId="9f05d00a-e537-49d7-8068-10844eaca034" providerId="ADAL" clId="{C1CE429F-B11C-4E27-9CFF-89149C269316}" dt="2025-06-24T23:31:24.721" v="1965" actId="20577"/>
        <pc:sldMkLst>
          <pc:docMk/>
          <pc:sldMk cId="2955664290" sldId="2147474776"/>
        </pc:sldMkLst>
        <pc:spChg chg="mod">
          <ac:chgData name="Pio Parma" userId="9f05d00a-e537-49d7-8068-10844eaca034" providerId="ADAL" clId="{C1CE429F-B11C-4E27-9CFF-89149C269316}" dt="2025-06-24T23:31:14.388" v="1963" actId="1035"/>
          <ac:spMkLst>
            <pc:docMk/>
            <pc:sldMk cId="2955664290" sldId="2147474776"/>
            <ac:spMk id="4" creationId="{EDC028A8-7FF6-2FDB-3050-2898FA9673B4}"/>
          </ac:spMkLst>
        </pc:spChg>
        <pc:spChg chg="mod">
          <ac:chgData name="Pio Parma" userId="9f05d00a-e537-49d7-8068-10844eaca034" providerId="ADAL" clId="{C1CE429F-B11C-4E27-9CFF-89149C269316}" dt="2025-06-24T23:31:17.884" v="1964" actId="207"/>
          <ac:spMkLst>
            <pc:docMk/>
            <pc:sldMk cId="2955664290" sldId="2147474776"/>
            <ac:spMk id="7" creationId="{DD77966F-2C50-AA10-023A-D964ABA41556}"/>
          </ac:spMkLst>
        </pc:spChg>
        <pc:spChg chg="mod">
          <ac:chgData name="Pio Parma" userId="9f05d00a-e537-49d7-8068-10844eaca034" providerId="ADAL" clId="{C1CE429F-B11C-4E27-9CFF-89149C269316}" dt="2025-06-24T23:31:24.721" v="1965" actId="20577"/>
          <ac:spMkLst>
            <pc:docMk/>
            <pc:sldMk cId="2955664290" sldId="2147474776"/>
            <ac:spMk id="10" creationId="{237A5957-1F6B-8DA2-A616-016719109402}"/>
          </ac:spMkLst>
        </pc:spChg>
      </pc:sldChg>
      <pc:sldChg chg="del">
        <pc:chgData name="Pio Parma" userId="9f05d00a-e537-49d7-8068-10844eaca034" providerId="ADAL" clId="{C1CE429F-B11C-4E27-9CFF-89149C269316}" dt="2025-06-24T22:27:14.460" v="326" actId="47"/>
        <pc:sldMkLst>
          <pc:docMk/>
          <pc:sldMk cId="2163081912" sldId="2147475302"/>
        </pc:sldMkLst>
      </pc:sldChg>
      <pc:sldChg chg="add del">
        <pc:chgData name="Pio Parma" userId="9f05d00a-e537-49d7-8068-10844eaca034" providerId="ADAL" clId="{C1CE429F-B11C-4E27-9CFF-89149C269316}" dt="2025-06-24T22:34:37.105" v="389" actId="47"/>
        <pc:sldMkLst>
          <pc:docMk/>
          <pc:sldMk cId="398167957" sldId="2147475313"/>
        </pc:sldMkLst>
      </pc:sldChg>
      <pc:sldChg chg="addSp delSp modSp add del mod">
        <pc:chgData name="Pio Parma" userId="9f05d00a-e537-49d7-8068-10844eaca034" providerId="ADAL" clId="{C1CE429F-B11C-4E27-9CFF-89149C269316}" dt="2025-06-24T23:27:19.273" v="1817" actId="2085"/>
        <pc:sldMkLst>
          <pc:docMk/>
          <pc:sldMk cId="2590015044" sldId="2147475332"/>
        </pc:sldMkLst>
        <pc:spChg chg="mod">
          <ac:chgData name="Pio Parma" userId="9f05d00a-e537-49d7-8068-10844eaca034" providerId="ADAL" clId="{C1CE429F-B11C-4E27-9CFF-89149C269316}" dt="2025-06-24T22:51:36.665" v="894" actId="1035"/>
          <ac:spMkLst>
            <pc:docMk/>
            <pc:sldMk cId="2590015044" sldId="2147475332"/>
            <ac:spMk id="13" creationId="{01C7582D-DC0D-E80B-2EC8-5A2D3CCA1AD0}"/>
          </ac:spMkLst>
        </pc:spChg>
        <pc:spChg chg="del">
          <ac:chgData name="Pio Parma" userId="9f05d00a-e537-49d7-8068-10844eaca034" providerId="ADAL" clId="{C1CE429F-B11C-4E27-9CFF-89149C269316}" dt="2025-06-24T22:33:24.331" v="379" actId="478"/>
          <ac:spMkLst>
            <pc:docMk/>
            <pc:sldMk cId="2590015044" sldId="2147475332"/>
            <ac:spMk id="14" creationId="{DDD4078E-1694-9AD1-552F-82DD619E5285}"/>
          </ac:spMkLst>
        </pc:spChg>
        <pc:spChg chg="del mod topLvl">
          <ac:chgData name="Pio Parma" userId="9f05d00a-e537-49d7-8068-10844eaca034" providerId="ADAL" clId="{C1CE429F-B11C-4E27-9CFF-89149C269316}" dt="2025-06-24T23:18:44.156" v="1521" actId="478"/>
          <ac:spMkLst>
            <pc:docMk/>
            <pc:sldMk cId="2590015044" sldId="2147475332"/>
            <ac:spMk id="19" creationId="{2970FDA0-614F-9F5D-A968-0EEFA15FBB84}"/>
          </ac:spMkLst>
        </pc:spChg>
        <pc:spChg chg="mod topLvl">
          <ac:chgData name="Pio Parma" userId="9f05d00a-e537-49d7-8068-10844eaca034" providerId="ADAL" clId="{C1CE429F-B11C-4E27-9CFF-89149C269316}" dt="2025-06-24T23:27:06.952" v="1816" actId="20577"/>
          <ac:spMkLst>
            <pc:docMk/>
            <pc:sldMk cId="2590015044" sldId="2147475332"/>
            <ac:spMk id="20" creationId="{5D2C342C-2C2F-D581-8FCA-A50E8F3E1589}"/>
          </ac:spMkLst>
        </pc:spChg>
        <pc:spChg chg="mod">
          <ac:chgData name="Pio Parma" userId="9f05d00a-e537-49d7-8068-10844eaca034" providerId="ADAL" clId="{C1CE429F-B11C-4E27-9CFF-89149C269316}" dt="2025-06-24T23:19:45.829" v="1588" actId="165"/>
          <ac:spMkLst>
            <pc:docMk/>
            <pc:sldMk cId="2590015044" sldId="2147475332"/>
            <ac:spMk id="23" creationId="{675D96BB-0DA7-6B9D-E8D5-F02AE88FE1C8}"/>
          </ac:spMkLst>
        </pc:spChg>
        <pc:spChg chg="mod topLvl">
          <ac:chgData name="Pio Parma" userId="9f05d00a-e537-49d7-8068-10844eaca034" providerId="ADAL" clId="{C1CE429F-B11C-4E27-9CFF-89149C269316}" dt="2025-06-24T23:18:36.448" v="1519" actId="165"/>
          <ac:spMkLst>
            <pc:docMk/>
            <pc:sldMk cId="2590015044" sldId="2147475332"/>
            <ac:spMk id="27" creationId="{A4E7F0F8-716F-3F01-71C7-065AA536B061}"/>
          </ac:spMkLst>
        </pc:spChg>
        <pc:spChg chg="mod ord topLvl">
          <ac:chgData name="Pio Parma" userId="9f05d00a-e537-49d7-8068-10844eaca034" providerId="ADAL" clId="{C1CE429F-B11C-4E27-9CFF-89149C269316}" dt="2025-06-24T23:20:52.691" v="1639" actId="167"/>
          <ac:spMkLst>
            <pc:docMk/>
            <pc:sldMk cId="2590015044" sldId="2147475332"/>
            <ac:spMk id="28" creationId="{280340FB-BE8E-2618-F509-8FCBA5385F82}"/>
          </ac:spMkLst>
        </pc:spChg>
        <pc:spChg chg="mod">
          <ac:chgData name="Pio Parma" userId="9f05d00a-e537-49d7-8068-10844eaca034" providerId="ADAL" clId="{C1CE429F-B11C-4E27-9CFF-89149C269316}" dt="2025-06-24T23:27:19.273" v="1817" actId="2085"/>
          <ac:spMkLst>
            <pc:docMk/>
            <pc:sldMk cId="2590015044" sldId="2147475332"/>
            <ac:spMk id="29" creationId="{398283DE-D194-14FD-F93F-4C2059BB0A4E}"/>
          </ac:spMkLst>
        </pc:spChg>
        <pc:spChg chg="mod">
          <ac:chgData name="Pio Parma" userId="9f05d00a-e537-49d7-8068-10844eaca034" providerId="ADAL" clId="{C1CE429F-B11C-4E27-9CFF-89149C269316}" dt="2025-06-24T23:19:45.829" v="1588" actId="165"/>
          <ac:spMkLst>
            <pc:docMk/>
            <pc:sldMk cId="2590015044" sldId="2147475332"/>
            <ac:spMk id="34" creationId="{61C17735-FA7A-F9E4-E262-0B5ACD860B64}"/>
          </ac:spMkLst>
        </pc:spChg>
        <pc:spChg chg="mod">
          <ac:chgData name="Pio Parma" userId="9f05d00a-e537-49d7-8068-10844eaca034" providerId="ADAL" clId="{C1CE429F-B11C-4E27-9CFF-89149C269316}" dt="2025-06-24T23:19:45.829" v="1588" actId="165"/>
          <ac:spMkLst>
            <pc:docMk/>
            <pc:sldMk cId="2590015044" sldId="2147475332"/>
            <ac:spMk id="36" creationId="{2F01D3F5-90F0-D70D-C3CD-0A38B14D46B1}"/>
          </ac:spMkLst>
        </pc:spChg>
        <pc:spChg chg="mod">
          <ac:chgData name="Pio Parma" userId="9f05d00a-e537-49d7-8068-10844eaca034" providerId="ADAL" clId="{C1CE429F-B11C-4E27-9CFF-89149C269316}" dt="2025-06-24T23:19:45.829" v="1588" actId="165"/>
          <ac:spMkLst>
            <pc:docMk/>
            <pc:sldMk cId="2590015044" sldId="2147475332"/>
            <ac:spMk id="38" creationId="{DE71A67E-2756-6EC3-45DC-C536B82D14FB}"/>
          </ac:spMkLst>
        </pc:spChg>
        <pc:grpChg chg="del">
          <ac:chgData name="Pio Parma" userId="9f05d00a-e537-49d7-8068-10844eaca034" providerId="ADAL" clId="{C1CE429F-B11C-4E27-9CFF-89149C269316}" dt="2025-06-24T23:18:44.156" v="1521" actId="478"/>
          <ac:grpSpMkLst>
            <pc:docMk/>
            <pc:sldMk cId="2590015044" sldId="2147475332"/>
            <ac:grpSpMk id="3" creationId="{9C9E6842-7268-3C79-A8F6-9F5DCBDB7604}"/>
          </ac:grpSpMkLst>
        </pc:grpChg>
        <pc:grpChg chg="add mod topLvl">
          <ac:chgData name="Pio Parma" userId="9f05d00a-e537-49d7-8068-10844eaca034" providerId="ADAL" clId="{C1CE429F-B11C-4E27-9CFF-89149C269316}" dt="2025-06-24T23:19:45.829" v="1588" actId="165"/>
          <ac:grpSpMkLst>
            <pc:docMk/>
            <pc:sldMk cId="2590015044" sldId="2147475332"/>
            <ac:grpSpMk id="22" creationId="{DE4ACB5C-5A5D-C63B-61E7-3CACD553DED3}"/>
          </ac:grpSpMkLst>
        </pc:grpChg>
        <pc:grpChg chg="add mod topLvl">
          <ac:chgData name="Pio Parma" userId="9f05d00a-e537-49d7-8068-10844eaca034" providerId="ADAL" clId="{C1CE429F-B11C-4E27-9CFF-89149C269316}" dt="2025-06-24T23:21:55.263" v="1674" actId="1035"/>
          <ac:grpSpMkLst>
            <pc:docMk/>
            <pc:sldMk cId="2590015044" sldId="2147475332"/>
            <ac:grpSpMk id="31" creationId="{4BF0157E-20BA-4889-9648-F5A1FE18A115}"/>
          </ac:grpSpMkLst>
        </pc:grpChg>
        <pc:grpChg chg="add del">
          <ac:chgData name="Pio Parma" userId="9f05d00a-e537-49d7-8068-10844eaca034" providerId="ADAL" clId="{C1CE429F-B11C-4E27-9CFF-89149C269316}" dt="2025-06-24T23:18:36.448" v="1519" actId="165"/>
          <ac:grpSpMkLst>
            <pc:docMk/>
            <pc:sldMk cId="2590015044" sldId="2147475332"/>
            <ac:grpSpMk id="32" creationId="{CB597CF5-1854-830F-CF3E-B6215BF32608}"/>
          </ac:grpSpMkLst>
        </pc:grpChg>
        <pc:grpChg chg="add del mod ord">
          <ac:chgData name="Pio Parma" userId="9f05d00a-e537-49d7-8068-10844eaca034" providerId="ADAL" clId="{C1CE429F-B11C-4E27-9CFF-89149C269316}" dt="2025-06-24T23:19:45.829" v="1588" actId="165"/>
          <ac:grpSpMkLst>
            <pc:docMk/>
            <pc:sldMk cId="2590015044" sldId="2147475332"/>
            <ac:grpSpMk id="39" creationId="{4D900638-9FDC-0A0D-0C2B-82595CD4943D}"/>
          </ac:grpSpMkLst>
        </pc:grpChg>
        <pc:graphicFrameChg chg="del mod topLvl">
          <ac:chgData name="Pio Parma" userId="9f05d00a-e537-49d7-8068-10844eaca034" providerId="ADAL" clId="{C1CE429F-B11C-4E27-9CFF-89149C269316}" dt="2025-06-24T23:18:40.264" v="1520" actId="478"/>
          <ac:graphicFrameMkLst>
            <pc:docMk/>
            <pc:sldMk cId="2590015044" sldId="2147475332"/>
            <ac:graphicFrameMk id="16" creationId="{46E377A3-18D7-727C-C5EF-EE085DA7A27C}"/>
          </ac:graphicFrameMkLst>
        </pc:graphicFrameChg>
        <pc:graphicFrameChg chg="mod">
          <ac:chgData name="Pio Parma" userId="9f05d00a-e537-49d7-8068-10844eaca034" providerId="ADAL" clId="{C1CE429F-B11C-4E27-9CFF-89149C269316}" dt="2025-06-24T23:19:45.829" v="1588" actId="165"/>
          <ac:graphicFrameMkLst>
            <pc:docMk/>
            <pc:sldMk cId="2590015044" sldId="2147475332"/>
            <ac:graphicFrameMk id="24" creationId="{B5FC7075-D095-9169-3520-305AD7825E68}"/>
          </ac:graphicFrameMkLst>
        </pc:graphicFrameChg>
        <pc:picChg chg="del">
          <ac:chgData name="Pio Parma" userId="9f05d00a-e537-49d7-8068-10844eaca034" providerId="ADAL" clId="{C1CE429F-B11C-4E27-9CFF-89149C269316}" dt="2025-06-24T22:33:46.310" v="382" actId="478"/>
          <ac:picMkLst>
            <pc:docMk/>
            <pc:sldMk cId="2590015044" sldId="2147475332"/>
            <ac:picMk id="12" creationId="{1041795A-EABD-13FC-ED9A-C25F19268932}"/>
          </ac:picMkLst>
        </pc:picChg>
        <pc:picChg chg="add mod">
          <ac:chgData name="Pio Parma" userId="9f05d00a-e537-49d7-8068-10844eaca034" providerId="ADAL" clId="{C1CE429F-B11C-4E27-9CFF-89149C269316}" dt="2025-06-24T23:03:53.948" v="1191"/>
          <ac:picMkLst>
            <pc:docMk/>
            <pc:sldMk cId="2590015044" sldId="2147475332"/>
            <ac:picMk id="15" creationId="{5E8A8D15-3BDC-61A9-364A-9EE361F0472A}"/>
          </ac:picMkLst>
        </pc:picChg>
        <pc:cxnChg chg="del mod topLvl">
          <ac:chgData name="Pio Parma" userId="9f05d00a-e537-49d7-8068-10844eaca034" providerId="ADAL" clId="{C1CE429F-B11C-4E27-9CFF-89149C269316}" dt="2025-06-24T23:18:44.156" v="1521" actId="478"/>
          <ac:cxnSpMkLst>
            <pc:docMk/>
            <pc:sldMk cId="2590015044" sldId="2147475332"/>
            <ac:cxnSpMk id="9" creationId="{A2B4300A-5A51-5294-E5CE-2CCE856FB14D}"/>
          </ac:cxnSpMkLst>
        </pc:cxnChg>
        <pc:cxnChg chg="del">
          <ac:chgData name="Pio Parma" userId="9f05d00a-e537-49d7-8068-10844eaca034" providerId="ADAL" clId="{C1CE429F-B11C-4E27-9CFF-89149C269316}" dt="2025-06-24T23:18:46.008" v="1522" actId="478"/>
          <ac:cxnSpMkLst>
            <pc:docMk/>
            <pc:sldMk cId="2590015044" sldId="2147475332"/>
            <ac:cxnSpMk id="11" creationId="{E4BDA14B-0532-512D-8424-0B591386348E}"/>
          </ac:cxnSpMkLst>
        </pc:cxnChg>
        <pc:cxnChg chg="del mod topLvl">
          <ac:chgData name="Pio Parma" userId="9f05d00a-e537-49d7-8068-10844eaca034" providerId="ADAL" clId="{C1CE429F-B11C-4E27-9CFF-89149C269316}" dt="2025-06-24T23:18:44.156" v="1521" actId="478"/>
          <ac:cxnSpMkLst>
            <pc:docMk/>
            <pc:sldMk cId="2590015044" sldId="2147475332"/>
            <ac:cxnSpMk id="18" creationId="{4395E6B9-CD35-A4A0-CA62-50A3EE84E2D9}"/>
          </ac:cxnSpMkLst>
        </pc:cxnChg>
        <pc:cxnChg chg="mod">
          <ac:chgData name="Pio Parma" userId="9f05d00a-e537-49d7-8068-10844eaca034" providerId="ADAL" clId="{C1CE429F-B11C-4E27-9CFF-89149C269316}" dt="2025-06-24T23:19:59.273" v="1612" actId="14100"/>
          <ac:cxnSpMkLst>
            <pc:docMk/>
            <pc:sldMk cId="2590015044" sldId="2147475332"/>
            <ac:cxnSpMk id="21" creationId="{E43F68D3-559E-C131-8633-701C88BA9A8A}"/>
          </ac:cxnSpMkLst>
        </pc:cxnChg>
        <pc:cxnChg chg="mod">
          <ac:chgData name="Pio Parma" userId="9f05d00a-e537-49d7-8068-10844eaca034" providerId="ADAL" clId="{C1CE429F-B11C-4E27-9CFF-89149C269316}" dt="2025-06-24T23:19:29.473" v="1587" actId="1036"/>
          <ac:cxnSpMkLst>
            <pc:docMk/>
            <pc:sldMk cId="2590015044" sldId="2147475332"/>
            <ac:cxnSpMk id="25" creationId="{77814511-1F35-D50F-96F0-E47707D22DDC}"/>
          </ac:cxnSpMkLst>
        </pc:cxnChg>
        <pc:cxnChg chg="mod">
          <ac:chgData name="Pio Parma" userId="9f05d00a-e537-49d7-8068-10844eaca034" providerId="ADAL" clId="{C1CE429F-B11C-4E27-9CFF-89149C269316}" dt="2025-06-24T23:18:46.916" v="1523"/>
          <ac:cxnSpMkLst>
            <pc:docMk/>
            <pc:sldMk cId="2590015044" sldId="2147475332"/>
            <ac:cxnSpMk id="26" creationId="{02FCA302-1903-ADFC-E599-AB64F95CAE7B}"/>
          </ac:cxnSpMkLst>
        </pc:cxnChg>
        <pc:cxnChg chg="mod topLvl">
          <ac:chgData name="Pio Parma" userId="9f05d00a-e537-49d7-8068-10844eaca034" providerId="ADAL" clId="{C1CE429F-B11C-4E27-9CFF-89149C269316}" dt="2025-06-24T23:20:48.542" v="1637" actId="1036"/>
          <ac:cxnSpMkLst>
            <pc:docMk/>
            <pc:sldMk cId="2590015044" sldId="2147475332"/>
            <ac:cxnSpMk id="30" creationId="{04FCE806-84B5-8FA3-1847-ABB2991FBBA3}"/>
          </ac:cxnSpMkLst>
        </pc:cxnChg>
        <pc:cxnChg chg="mod">
          <ac:chgData name="Pio Parma" userId="9f05d00a-e537-49d7-8068-10844eaca034" providerId="ADAL" clId="{C1CE429F-B11C-4E27-9CFF-89149C269316}" dt="2025-06-24T23:19:45.829" v="1588" actId="165"/>
          <ac:cxnSpMkLst>
            <pc:docMk/>
            <pc:sldMk cId="2590015044" sldId="2147475332"/>
            <ac:cxnSpMk id="35" creationId="{ABC2487F-B5B3-3DAF-AA53-A10AADFE823F}"/>
          </ac:cxnSpMkLst>
        </pc:cxnChg>
      </pc:sldChg>
      <pc:sldChg chg="addSp delSp modSp add del mod">
        <pc:chgData name="Pio Parma" userId="9f05d00a-e537-49d7-8068-10844eaca034" providerId="ADAL" clId="{C1CE429F-B11C-4E27-9CFF-89149C269316}" dt="2025-06-24T23:24:08.298" v="1775" actId="20577"/>
        <pc:sldMkLst>
          <pc:docMk/>
          <pc:sldMk cId="2071866452" sldId="2147475334"/>
        </pc:sldMkLst>
        <pc:spChg chg="del">
          <ac:chgData name="Pio Parma" userId="9f05d00a-e537-49d7-8068-10844eaca034" providerId="ADAL" clId="{C1CE429F-B11C-4E27-9CFF-89149C269316}" dt="2025-06-24T22:33:27.139" v="380" actId="478"/>
          <ac:spMkLst>
            <pc:docMk/>
            <pc:sldMk cId="2071866452" sldId="2147475334"/>
            <ac:spMk id="3" creationId="{08725E72-E616-EE63-BB2B-4ABA24D470BF}"/>
          </ac:spMkLst>
        </pc:spChg>
        <pc:spChg chg="mod">
          <ac:chgData name="Pio Parma" userId="9f05d00a-e537-49d7-8068-10844eaca034" providerId="ADAL" clId="{C1CE429F-B11C-4E27-9CFF-89149C269316}" dt="2025-06-24T23:24:08.298" v="1775" actId="20577"/>
          <ac:spMkLst>
            <pc:docMk/>
            <pc:sldMk cId="2071866452" sldId="2147475334"/>
            <ac:spMk id="6" creationId="{7A3B1596-A112-5D8B-085F-BF15F63AF856}"/>
          </ac:spMkLst>
        </pc:spChg>
        <pc:spChg chg="mod">
          <ac:chgData name="Pio Parma" userId="9f05d00a-e537-49d7-8068-10844eaca034" providerId="ADAL" clId="{C1CE429F-B11C-4E27-9CFF-89149C269316}" dt="2025-06-24T22:34:01.187" v="387" actId="20577"/>
          <ac:spMkLst>
            <pc:docMk/>
            <pc:sldMk cId="2071866452" sldId="2147475334"/>
            <ac:spMk id="8" creationId="{828E157A-0EAE-AECB-C9A0-1B7EA8344A03}"/>
          </ac:spMkLst>
        </pc:spChg>
        <pc:spChg chg="mod">
          <ac:chgData name="Pio Parma" userId="9f05d00a-e537-49d7-8068-10844eaca034" providerId="ADAL" clId="{C1CE429F-B11C-4E27-9CFF-89149C269316}" dt="2025-06-24T22:51:32.530" v="890" actId="1037"/>
          <ac:spMkLst>
            <pc:docMk/>
            <pc:sldMk cId="2071866452" sldId="2147475334"/>
            <ac:spMk id="21" creationId="{649A76C6-3DAF-3D1F-2B19-8D6BD0E4CD9E}"/>
          </ac:spMkLst>
        </pc:spChg>
        <pc:picChg chg="del">
          <ac:chgData name="Pio Parma" userId="9f05d00a-e537-49d7-8068-10844eaca034" providerId="ADAL" clId="{C1CE429F-B11C-4E27-9CFF-89149C269316}" dt="2025-06-24T22:34:03.047" v="388" actId="478"/>
          <ac:picMkLst>
            <pc:docMk/>
            <pc:sldMk cId="2071866452" sldId="2147475334"/>
            <ac:picMk id="2" creationId="{214CE64C-F48D-93C3-A40C-B46BEC5E96B5}"/>
          </ac:picMkLst>
        </pc:picChg>
        <pc:picChg chg="add mod">
          <ac:chgData name="Pio Parma" userId="9f05d00a-e537-49d7-8068-10844eaca034" providerId="ADAL" clId="{C1CE429F-B11C-4E27-9CFF-89149C269316}" dt="2025-06-24T23:03:50.954" v="1190"/>
          <ac:picMkLst>
            <pc:docMk/>
            <pc:sldMk cId="2071866452" sldId="2147475334"/>
            <ac:picMk id="4" creationId="{EE127C40-EC23-2182-47B4-027640652E2C}"/>
          </ac:picMkLst>
        </pc:picChg>
      </pc:sldChg>
      <pc:sldChg chg="delSp modSp add mod modNotesTx">
        <pc:chgData name="Pio Parma" userId="9f05d00a-e537-49d7-8068-10844eaca034" providerId="ADAL" clId="{C1CE429F-B11C-4E27-9CFF-89149C269316}" dt="2025-06-24T23:29:16.804" v="1854" actId="20577"/>
        <pc:sldMkLst>
          <pc:docMk/>
          <pc:sldMk cId="2686807615" sldId="2147475342"/>
        </pc:sldMkLst>
        <pc:spChg chg="mod">
          <ac:chgData name="Pio Parma" userId="9f05d00a-e537-49d7-8068-10844eaca034" providerId="ADAL" clId="{C1CE429F-B11C-4E27-9CFF-89149C269316}" dt="2025-06-24T23:29:16.804" v="1854" actId="20577"/>
          <ac:spMkLst>
            <pc:docMk/>
            <pc:sldMk cId="2686807615" sldId="2147475342"/>
            <ac:spMk id="2" creationId="{1F7CCC11-F0BB-B9A6-A65E-E62DBA1259A6}"/>
          </ac:spMkLst>
        </pc:spChg>
        <pc:spChg chg="mod">
          <ac:chgData name="Pio Parma" userId="9f05d00a-e537-49d7-8068-10844eaca034" providerId="ADAL" clId="{C1CE429F-B11C-4E27-9CFF-89149C269316}" dt="2025-06-24T22:51:45.359" v="901" actId="1038"/>
          <ac:spMkLst>
            <pc:docMk/>
            <pc:sldMk cId="2686807615" sldId="2147475342"/>
            <ac:spMk id="6" creationId="{6074978F-6102-5D57-B48F-4D7FF0F02E93}"/>
          </ac:spMkLst>
        </pc:spChg>
        <pc:spChg chg="del">
          <ac:chgData name="Pio Parma" userId="9f05d00a-e537-49d7-8068-10844eaca034" providerId="ADAL" clId="{C1CE429F-B11C-4E27-9CFF-89149C269316}" dt="2025-06-24T22:35:07.388" v="392" actId="478"/>
          <ac:spMkLst>
            <pc:docMk/>
            <pc:sldMk cId="2686807615" sldId="2147475342"/>
            <ac:spMk id="9" creationId="{094EE2DB-1E3A-0059-6DC4-71E027A9A19F}"/>
          </ac:spMkLst>
        </pc:spChg>
      </pc:sldChg>
      <pc:sldChg chg="addSp delSp modSp add mod modNotes">
        <pc:chgData name="Pio Parma" userId="9f05d00a-e537-49d7-8068-10844eaca034" providerId="ADAL" clId="{C1CE429F-B11C-4E27-9CFF-89149C269316}" dt="2025-06-24T23:30:50.237" v="1957" actId="20577"/>
        <pc:sldMkLst>
          <pc:docMk/>
          <pc:sldMk cId="3650736320" sldId="2147475363"/>
        </pc:sldMkLst>
        <pc:spChg chg="mod">
          <ac:chgData name="Pio Parma" userId="9f05d00a-e537-49d7-8068-10844eaca034" providerId="ADAL" clId="{C1CE429F-B11C-4E27-9CFF-89149C269316}" dt="2025-06-24T23:30:08.668" v="1891" actId="20577"/>
          <ac:spMkLst>
            <pc:docMk/>
            <pc:sldMk cId="3650736320" sldId="2147475363"/>
            <ac:spMk id="2" creationId="{A5445930-2E74-B7DB-9C4A-63F3313AD4E0}"/>
          </ac:spMkLst>
        </pc:spChg>
        <pc:spChg chg="del">
          <ac:chgData name="Pio Parma" userId="9f05d00a-e537-49d7-8068-10844eaca034" providerId="ADAL" clId="{C1CE429F-B11C-4E27-9CFF-89149C269316}" dt="2025-06-24T22:42:11.620" v="608" actId="478"/>
          <ac:spMkLst>
            <pc:docMk/>
            <pc:sldMk cId="3650736320" sldId="2147475363"/>
            <ac:spMk id="3" creationId="{C97CCD93-93E1-10D7-28D4-E3880E3785CA}"/>
          </ac:spMkLst>
        </pc:spChg>
        <pc:spChg chg="add mod">
          <ac:chgData name="Pio Parma" userId="9f05d00a-e537-49d7-8068-10844eaca034" providerId="ADAL" clId="{C1CE429F-B11C-4E27-9CFF-89149C269316}" dt="2025-06-24T23:30:50.237" v="1957" actId="20577"/>
          <ac:spMkLst>
            <pc:docMk/>
            <pc:sldMk cId="3650736320" sldId="2147475363"/>
            <ac:spMk id="4" creationId="{E195EB29-E7B9-A47A-25FD-E0E8D15CBEFF}"/>
          </ac:spMkLst>
        </pc:spChg>
        <pc:spChg chg="mod">
          <ac:chgData name="Pio Parma" userId="9f05d00a-e537-49d7-8068-10844eaca034" providerId="ADAL" clId="{C1CE429F-B11C-4E27-9CFF-89149C269316}" dt="2025-06-24T22:54:42.747" v="1041" actId="12788"/>
          <ac:spMkLst>
            <pc:docMk/>
            <pc:sldMk cId="3650736320" sldId="2147475363"/>
            <ac:spMk id="5" creationId="{8A1EFD5E-B146-060E-CA65-B86B5701EB76}"/>
          </ac:spMkLst>
        </pc:spChg>
        <pc:spChg chg="mod">
          <ac:chgData name="Pio Parma" userId="9f05d00a-e537-49d7-8068-10844eaca034" providerId="ADAL" clId="{C1CE429F-B11C-4E27-9CFF-89149C269316}" dt="2025-06-24T22:54:57.088" v="1056" actId="1038"/>
          <ac:spMkLst>
            <pc:docMk/>
            <pc:sldMk cId="3650736320" sldId="2147475363"/>
            <ac:spMk id="6" creationId="{287111C6-62C5-4407-1629-8BD06827B7AC}"/>
          </ac:spMkLst>
        </pc:spChg>
        <pc:spChg chg="mod">
          <ac:chgData name="Pio Parma" userId="9f05d00a-e537-49d7-8068-10844eaca034" providerId="ADAL" clId="{C1CE429F-B11C-4E27-9CFF-89149C269316}" dt="2025-06-24T22:54:57.088" v="1056" actId="1038"/>
          <ac:spMkLst>
            <pc:docMk/>
            <pc:sldMk cId="3650736320" sldId="2147475363"/>
            <ac:spMk id="7" creationId="{3F3402AC-26DB-493C-F183-D0037DEBF3CA}"/>
          </ac:spMkLst>
        </pc:spChg>
        <pc:spChg chg="mod">
          <ac:chgData name="Pio Parma" userId="9f05d00a-e537-49d7-8068-10844eaca034" providerId="ADAL" clId="{C1CE429F-B11C-4E27-9CFF-89149C269316}" dt="2025-06-24T22:54:42.747" v="1041" actId="12788"/>
          <ac:spMkLst>
            <pc:docMk/>
            <pc:sldMk cId="3650736320" sldId="2147475363"/>
            <ac:spMk id="8" creationId="{11C5D1DD-9880-62C9-C954-4AC4EC7B47D7}"/>
          </ac:spMkLst>
        </pc:spChg>
        <pc:spChg chg="mod">
          <ac:chgData name="Pio Parma" userId="9f05d00a-e537-49d7-8068-10844eaca034" providerId="ADAL" clId="{C1CE429F-B11C-4E27-9CFF-89149C269316}" dt="2025-06-24T22:51:55.527" v="913" actId="1036"/>
          <ac:spMkLst>
            <pc:docMk/>
            <pc:sldMk cId="3650736320" sldId="2147475363"/>
            <ac:spMk id="15" creationId="{DA2B4A80-1F8B-6F15-D7BA-B02CBF614B75}"/>
          </ac:spMkLst>
        </pc:spChg>
        <pc:picChg chg="mod">
          <ac:chgData name="Pio Parma" userId="9f05d00a-e537-49d7-8068-10844eaca034" providerId="ADAL" clId="{C1CE429F-B11C-4E27-9CFF-89149C269316}" dt="2025-06-24T22:54:42.747" v="1041" actId="12788"/>
          <ac:picMkLst>
            <pc:docMk/>
            <pc:sldMk cId="3650736320" sldId="2147475363"/>
            <ac:picMk id="3074" creationId="{0806C4D8-8225-19B5-B5BC-9B7F5D3A1FC1}"/>
          </ac:picMkLst>
        </pc:picChg>
        <pc:picChg chg="mod">
          <ac:chgData name="Pio Parma" userId="9f05d00a-e537-49d7-8068-10844eaca034" providerId="ADAL" clId="{C1CE429F-B11C-4E27-9CFF-89149C269316}" dt="2025-06-24T22:54:42.747" v="1041" actId="12788"/>
          <ac:picMkLst>
            <pc:docMk/>
            <pc:sldMk cId="3650736320" sldId="2147475363"/>
            <ac:picMk id="3076" creationId="{4B5EDAB1-01EE-0377-0E3F-8E42DFFE8CB6}"/>
          </ac:picMkLst>
        </pc:picChg>
        <pc:picChg chg="mod">
          <ac:chgData name="Pio Parma" userId="9f05d00a-e537-49d7-8068-10844eaca034" providerId="ADAL" clId="{C1CE429F-B11C-4E27-9CFF-89149C269316}" dt="2025-06-24T22:54:57.088" v="1056" actId="1038"/>
          <ac:picMkLst>
            <pc:docMk/>
            <pc:sldMk cId="3650736320" sldId="2147475363"/>
            <ac:picMk id="3078" creationId="{3AD4C990-6E3E-EFF1-C2FD-E65F9B3A952E}"/>
          </ac:picMkLst>
        </pc:picChg>
        <pc:picChg chg="mod">
          <ac:chgData name="Pio Parma" userId="9f05d00a-e537-49d7-8068-10844eaca034" providerId="ADAL" clId="{C1CE429F-B11C-4E27-9CFF-89149C269316}" dt="2025-06-24T22:54:57.088" v="1056" actId="1038"/>
          <ac:picMkLst>
            <pc:docMk/>
            <pc:sldMk cId="3650736320" sldId="2147475363"/>
            <ac:picMk id="3080" creationId="{D653FC0F-A5C8-3108-0605-835F54C5CF67}"/>
          </ac:picMkLst>
        </pc:picChg>
      </pc:sldChg>
      <pc:sldChg chg="addSp delSp modSp add mod modNotes">
        <pc:chgData name="Pio Parma" userId="9f05d00a-e537-49d7-8068-10844eaca034" providerId="ADAL" clId="{C1CE429F-B11C-4E27-9CFF-89149C269316}" dt="2025-06-24T23:14:45.408" v="1488" actId="1037"/>
        <pc:sldMkLst>
          <pc:docMk/>
          <pc:sldMk cId="2336643285" sldId="2147475379"/>
        </pc:sldMkLst>
        <pc:spChg chg="mod">
          <ac:chgData name="Pio Parma" userId="9f05d00a-e537-49d7-8068-10844eaca034" providerId="ADAL" clId="{C1CE429F-B11C-4E27-9CFF-89149C269316}" dt="2025-06-24T22:43:26.822" v="742" actId="255"/>
          <ac:spMkLst>
            <pc:docMk/>
            <pc:sldMk cId="2336643285" sldId="2147475379"/>
            <ac:spMk id="2" creationId="{3D321A9C-8F68-63C1-1EAF-940171C5D669}"/>
          </ac:spMkLst>
        </pc:spChg>
        <pc:spChg chg="mod">
          <ac:chgData name="Pio Parma" userId="9f05d00a-e537-49d7-8068-10844eaca034" providerId="ADAL" clId="{C1CE429F-B11C-4E27-9CFF-89149C269316}" dt="2025-06-24T23:14:33.192" v="1466" actId="948"/>
          <ac:spMkLst>
            <pc:docMk/>
            <pc:sldMk cId="2336643285" sldId="2147475379"/>
            <ac:spMk id="3" creationId="{9D910EAB-6BE9-F65B-98BF-1611EB45E0A9}"/>
          </ac:spMkLst>
        </pc:spChg>
        <pc:spChg chg="mod">
          <ac:chgData name="Pio Parma" userId="9f05d00a-e537-49d7-8068-10844eaca034" providerId="ADAL" clId="{C1CE429F-B11C-4E27-9CFF-89149C269316}" dt="2025-06-24T23:10:42.230" v="1324" actId="20577"/>
          <ac:spMkLst>
            <pc:docMk/>
            <pc:sldMk cId="2336643285" sldId="2147475379"/>
            <ac:spMk id="4" creationId="{73E4BBA0-6E20-8893-C71A-D8F56A9D3AAA}"/>
          </ac:spMkLst>
        </pc:spChg>
        <pc:spChg chg="mod">
          <ac:chgData name="Pio Parma" userId="9f05d00a-e537-49d7-8068-10844eaca034" providerId="ADAL" clId="{C1CE429F-B11C-4E27-9CFF-89149C269316}" dt="2025-06-24T23:14:45.408" v="1488" actId="1037"/>
          <ac:spMkLst>
            <pc:docMk/>
            <pc:sldMk cId="2336643285" sldId="2147475379"/>
            <ac:spMk id="5" creationId="{72DD4013-BDED-6499-4B07-215C29D46B23}"/>
          </ac:spMkLst>
        </pc:spChg>
        <pc:spChg chg="del">
          <ac:chgData name="Pio Parma" userId="9f05d00a-e537-49d7-8068-10844eaca034" providerId="ADAL" clId="{C1CE429F-B11C-4E27-9CFF-89149C269316}" dt="2025-06-24T22:36:00.896" v="422" actId="478"/>
          <ac:spMkLst>
            <pc:docMk/>
            <pc:sldMk cId="2336643285" sldId="2147475379"/>
            <ac:spMk id="6" creationId="{504DF687-26EF-515A-1CF4-59E3CAFA00F4}"/>
          </ac:spMkLst>
        </pc:spChg>
        <pc:picChg chg="add mod">
          <ac:chgData name="Pio Parma" userId="9f05d00a-e537-49d7-8068-10844eaca034" providerId="ADAL" clId="{C1CE429F-B11C-4E27-9CFF-89149C269316}" dt="2025-06-24T23:13:48.331" v="1451" actId="1036"/>
          <ac:picMkLst>
            <pc:docMk/>
            <pc:sldMk cId="2336643285" sldId="2147475379"/>
            <ac:picMk id="1026" creationId="{B6F21E83-5010-F3C7-B5FC-3C9E88E96DBD}"/>
          </ac:picMkLst>
        </pc:picChg>
        <pc:picChg chg="add mod">
          <ac:chgData name="Pio Parma" userId="9f05d00a-e537-49d7-8068-10844eaca034" providerId="ADAL" clId="{C1CE429F-B11C-4E27-9CFF-89149C269316}" dt="2025-06-24T23:13:29.096" v="1440" actId="12788"/>
          <ac:picMkLst>
            <pc:docMk/>
            <pc:sldMk cId="2336643285" sldId="2147475379"/>
            <ac:picMk id="1028" creationId="{CCDCC373-3158-B74F-2E2A-09D5EDAAE621}"/>
          </ac:picMkLst>
        </pc:picChg>
        <pc:picChg chg="add mod">
          <ac:chgData name="Pio Parma" userId="9f05d00a-e537-49d7-8068-10844eaca034" providerId="ADAL" clId="{C1CE429F-B11C-4E27-9CFF-89149C269316}" dt="2025-06-24T23:13:53.552" v="1459" actId="1036"/>
          <ac:picMkLst>
            <pc:docMk/>
            <pc:sldMk cId="2336643285" sldId="2147475379"/>
            <ac:picMk id="1030" creationId="{FEC20BBF-D014-71AD-2C52-EF15362E0505}"/>
          </ac:picMkLst>
        </pc:picChg>
        <pc:picChg chg="add mod">
          <ac:chgData name="Pio Parma" userId="9f05d00a-e537-49d7-8068-10844eaca034" providerId="ADAL" clId="{C1CE429F-B11C-4E27-9CFF-89149C269316}" dt="2025-06-24T23:14:37.393" v="1470" actId="1035"/>
          <ac:picMkLst>
            <pc:docMk/>
            <pc:sldMk cId="2336643285" sldId="2147475379"/>
            <ac:picMk id="1032" creationId="{EF277A2D-82A0-5E3C-A95B-DAEB216E53F0}"/>
          </ac:picMkLst>
        </pc:picChg>
      </pc:sldChg>
      <pc:sldChg chg="add del">
        <pc:chgData name="Pio Parma" userId="9f05d00a-e537-49d7-8068-10844eaca034" providerId="ADAL" clId="{C1CE429F-B11C-4E27-9CFF-89149C269316}" dt="2025-06-24T22:43:31.958" v="743" actId="47"/>
        <pc:sldMkLst>
          <pc:docMk/>
          <pc:sldMk cId="731686626" sldId="2147475380"/>
        </pc:sldMkLst>
      </pc:sldChg>
      <pc:sldChg chg="modSp add mod">
        <pc:chgData name="Pio Parma" userId="9f05d00a-e537-49d7-8068-10844eaca034" providerId="ADAL" clId="{C1CE429F-B11C-4E27-9CFF-89149C269316}" dt="2025-06-24T22:51:28.023" v="886" actId="1036"/>
        <pc:sldMkLst>
          <pc:docMk/>
          <pc:sldMk cId="2489998306" sldId="2147475390"/>
        </pc:sldMkLst>
        <pc:spChg chg="mod">
          <ac:chgData name="Pio Parma" userId="9f05d00a-e537-49d7-8068-10844eaca034" providerId="ADAL" clId="{C1CE429F-B11C-4E27-9CFF-89149C269316}" dt="2025-06-24T22:51:28.023" v="886" actId="1036"/>
          <ac:spMkLst>
            <pc:docMk/>
            <pc:sldMk cId="2489998306" sldId="2147475390"/>
            <ac:spMk id="5" creationId="{982A9CDA-0841-4A79-2202-C9009455ED27}"/>
          </ac:spMkLst>
        </pc:spChg>
        <pc:spChg chg="mod">
          <ac:chgData name="Pio Parma" userId="9f05d00a-e537-49d7-8068-10844eaca034" providerId="ADAL" clId="{C1CE429F-B11C-4E27-9CFF-89149C269316}" dt="2025-06-24T22:49:43.747" v="862" actId="207"/>
          <ac:spMkLst>
            <pc:docMk/>
            <pc:sldMk cId="2489998306" sldId="2147475390"/>
            <ac:spMk id="11" creationId="{02B683F6-A7B7-9F4E-D476-500765BE9E21}"/>
          </ac:spMkLst>
        </pc:spChg>
        <pc:spChg chg="mod">
          <ac:chgData name="Pio Parma" userId="9f05d00a-e537-49d7-8068-10844eaca034" providerId="ADAL" clId="{C1CE429F-B11C-4E27-9CFF-89149C269316}" dt="2025-06-24T22:49:35.063" v="861" actId="14100"/>
          <ac:spMkLst>
            <pc:docMk/>
            <pc:sldMk cId="2489998306" sldId="2147475390"/>
            <ac:spMk id="14" creationId="{200328E2-31CE-DB1C-C340-15CC09ED5B7F}"/>
          </ac:spMkLst>
        </pc:spChg>
        <pc:spChg chg="mod">
          <ac:chgData name="Pio Parma" userId="9f05d00a-e537-49d7-8068-10844eaca034" providerId="ADAL" clId="{C1CE429F-B11C-4E27-9CFF-89149C269316}" dt="2025-06-24T22:49:02.124" v="859" actId="404"/>
          <ac:spMkLst>
            <pc:docMk/>
            <pc:sldMk cId="2489998306" sldId="2147475390"/>
            <ac:spMk id="25" creationId="{4BCF610B-A71A-406F-18A1-6E6ADF64ECC4}"/>
          </ac:spMkLst>
        </pc:spChg>
        <pc:spChg chg="mod">
          <ac:chgData name="Pio Parma" userId="9f05d00a-e537-49d7-8068-10844eaca034" providerId="ADAL" clId="{C1CE429F-B11C-4E27-9CFF-89149C269316}" dt="2025-06-24T22:49:43.747" v="862" actId="207"/>
          <ac:spMkLst>
            <pc:docMk/>
            <pc:sldMk cId="2489998306" sldId="2147475390"/>
            <ac:spMk id="26" creationId="{8103D1AE-8605-C4A3-FBB0-B275153EAEEA}"/>
          </ac:spMkLst>
        </pc:spChg>
        <pc:spChg chg="mod">
          <ac:chgData name="Pio Parma" userId="9f05d00a-e537-49d7-8068-10844eaca034" providerId="ADAL" clId="{C1CE429F-B11C-4E27-9CFF-89149C269316}" dt="2025-06-24T22:49:43.747" v="862" actId="207"/>
          <ac:spMkLst>
            <pc:docMk/>
            <pc:sldMk cId="2489998306" sldId="2147475390"/>
            <ac:spMk id="35" creationId="{83CB2BFD-0471-74CB-B6F6-15826B313223}"/>
          </ac:spMkLst>
        </pc:spChg>
      </pc:sldChg>
      <pc:sldChg chg="del">
        <pc:chgData name="Pio Parma" userId="9f05d00a-e537-49d7-8068-10844eaca034" providerId="ADAL" clId="{C1CE429F-B11C-4E27-9CFF-89149C269316}" dt="2025-06-24T22:44:39.509" v="744" actId="47"/>
        <pc:sldMkLst>
          <pc:docMk/>
          <pc:sldMk cId="963249807" sldId="2147475547"/>
        </pc:sldMkLst>
      </pc:sldChg>
      <pc:sldChg chg="del">
        <pc:chgData name="Pio Parma" userId="9f05d00a-e537-49d7-8068-10844eaca034" providerId="ADAL" clId="{C1CE429F-B11C-4E27-9CFF-89149C269316}" dt="2025-06-24T22:27:14.460" v="326" actId="47"/>
        <pc:sldMkLst>
          <pc:docMk/>
          <pc:sldMk cId="3273693058" sldId="2147475569"/>
        </pc:sldMkLst>
      </pc:sldChg>
      <pc:sldChg chg="del">
        <pc:chgData name="Pio Parma" userId="9f05d00a-e537-49d7-8068-10844eaca034" providerId="ADAL" clId="{C1CE429F-B11C-4E27-9CFF-89149C269316}" dt="2025-06-24T22:27:14.460" v="326" actId="47"/>
        <pc:sldMkLst>
          <pc:docMk/>
          <pc:sldMk cId="3474545170" sldId="2147476848"/>
        </pc:sldMkLst>
      </pc:sldChg>
      <pc:sldChg chg="del">
        <pc:chgData name="Pio Parma" userId="9f05d00a-e537-49d7-8068-10844eaca034" providerId="ADAL" clId="{C1CE429F-B11C-4E27-9CFF-89149C269316}" dt="2025-06-24T22:27:14.460" v="326" actId="47"/>
        <pc:sldMkLst>
          <pc:docMk/>
          <pc:sldMk cId="890508886" sldId="2147476969"/>
        </pc:sldMkLst>
      </pc:sldChg>
      <pc:sldChg chg="del">
        <pc:chgData name="Pio Parma" userId="9f05d00a-e537-49d7-8068-10844eaca034" providerId="ADAL" clId="{C1CE429F-B11C-4E27-9CFF-89149C269316}" dt="2025-06-24T22:27:14.460" v="326" actId="47"/>
        <pc:sldMkLst>
          <pc:docMk/>
          <pc:sldMk cId="140630364" sldId="2147476975"/>
        </pc:sldMkLst>
      </pc:sldChg>
      <pc:sldChg chg="del">
        <pc:chgData name="Pio Parma" userId="9f05d00a-e537-49d7-8068-10844eaca034" providerId="ADAL" clId="{C1CE429F-B11C-4E27-9CFF-89149C269316}" dt="2025-06-24T22:27:14.460" v="326" actId="47"/>
        <pc:sldMkLst>
          <pc:docMk/>
          <pc:sldMk cId="1838247611" sldId="2147483577"/>
        </pc:sldMkLst>
      </pc:sldChg>
      <pc:sldChg chg="del">
        <pc:chgData name="Pio Parma" userId="9f05d00a-e537-49d7-8068-10844eaca034" providerId="ADAL" clId="{C1CE429F-B11C-4E27-9CFF-89149C269316}" dt="2025-06-24T22:27:14.460" v="326" actId="47"/>
        <pc:sldMkLst>
          <pc:docMk/>
          <pc:sldMk cId="1412662126" sldId="2147483579"/>
        </pc:sldMkLst>
      </pc:sldChg>
      <pc:sldChg chg="del">
        <pc:chgData name="Pio Parma" userId="9f05d00a-e537-49d7-8068-10844eaca034" providerId="ADAL" clId="{C1CE429F-B11C-4E27-9CFF-89149C269316}" dt="2025-06-24T22:27:14.460" v="326" actId="47"/>
        <pc:sldMkLst>
          <pc:docMk/>
          <pc:sldMk cId="1406941726" sldId="2147483593"/>
        </pc:sldMkLst>
      </pc:sldChg>
      <pc:sldChg chg="del">
        <pc:chgData name="Pio Parma" userId="9f05d00a-e537-49d7-8068-10844eaca034" providerId="ADAL" clId="{C1CE429F-B11C-4E27-9CFF-89149C269316}" dt="2025-06-24T22:27:14.460" v="326" actId="47"/>
        <pc:sldMkLst>
          <pc:docMk/>
          <pc:sldMk cId="1856985895" sldId="2147483595"/>
        </pc:sldMkLst>
      </pc:sldChg>
      <pc:sldChg chg="del">
        <pc:chgData name="Pio Parma" userId="9f05d00a-e537-49d7-8068-10844eaca034" providerId="ADAL" clId="{C1CE429F-B11C-4E27-9CFF-89149C269316}" dt="2025-06-24T22:27:14.460" v="326" actId="47"/>
        <pc:sldMkLst>
          <pc:docMk/>
          <pc:sldMk cId="3728148291" sldId="2147483597"/>
        </pc:sldMkLst>
      </pc:sldChg>
      <pc:sldChg chg="del">
        <pc:chgData name="Pio Parma" userId="9f05d00a-e537-49d7-8068-10844eaca034" providerId="ADAL" clId="{C1CE429F-B11C-4E27-9CFF-89149C269316}" dt="2025-06-24T22:27:14.460" v="326" actId="47"/>
        <pc:sldMkLst>
          <pc:docMk/>
          <pc:sldMk cId="854769100" sldId="2147483598"/>
        </pc:sldMkLst>
      </pc:sldChg>
      <pc:sldChg chg="del">
        <pc:chgData name="Pio Parma" userId="9f05d00a-e537-49d7-8068-10844eaca034" providerId="ADAL" clId="{C1CE429F-B11C-4E27-9CFF-89149C269316}" dt="2025-06-24T22:27:14.460" v="326" actId="47"/>
        <pc:sldMkLst>
          <pc:docMk/>
          <pc:sldMk cId="482727967" sldId="2147483603"/>
        </pc:sldMkLst>
      </pc:sldChg>
      <pc:sldChg chg="del">
        <pc:chgData name="Pio Parma" userId="9f05d00a-e537-49d7-8068-10844eaca034" providerId="ADAL" clId="{C1CE429F-B11C-4E27-9CFF-89149C269316}" dt="2025-06-24T22:27:14.460" v="326" actId="47"/>
        <pc:sldMkLst>
          <pc:docMk/>
          <pc:sldMk cId="1707155119" sldId="2147483607"/>
        </pc:sldMkLst>
      </pc:sldChg>
      <pc:sldChg chg="del">
        <pc:chgData name="Pio Parma" userId="9f05d00a-e537-49d7-8068-10844eaca034" providerId="ADAL" clId="{C1CE429F-B11C-4E27-9CFF-89149C269316}" dt="2025-06-24T22:27:14.460" v="326" actId="47"/>
        <pc:sldMkLst>
          <pc:docMk/>
          <pc:sldMk cId="3554228558" sldId="2147483614"/>
        </pc:sldMkLst>
      </pc:sldChg>
      <pc:sldChg chg="del">
        <pc:chgData name="Pio Parma" userId="9f05d00a-e537-49d7-8068-10844eaca034" providerId="ADAL" clId="{C1CE429F-B11C-4E27-9CFF-89149C269316}" dt="2025-06-24T22:27:14.460" v="326" actId="47"/>
        <pc:sldMkLst>
          <pc:docMk/>
          <pc:sldMk cId="3006544109" sldId="2147483615"/>
        </pc:sldMkLst>
      </pc:sldChg>
      <pc:sldChg chg="del">
        <pc:chgData name="Pio Parma" userId="9f05d00a-e537-49d7-8068-10844eaca034" providerId="ADAL" clId="{C1CE429F-B11C-4E27-9CFF-89149C269316}" dt="2025-06-24T22:27:14.460" v="326" actId="47"/>
        <pc:sldMkLst>
          <pc:docMk/>
          <pc:sldMk cId="875772413" sldId="2147483616"/>
        </pc:sldMkLst>
      </pc:sldChg>
      <pc:sldChg chg="del">
        <pc:chgData name="Pio Parma" userId="9f05d00a-e537-49d7-8068-10844eaca034" providerId="ADAL" clId="{C1CE429F-B11C-4E27-9CFF-89149C269316}" dt="2025-06-24T22:27:14.460" v="326" actId="47"/>
        <pc:sldMkLst>
          <pc:docMk/>
          <pc:sldMk cId="4114105445" sldId="2147483617"/>
        </pc:sldMkLst>
      </pc:sldChg>
      <pc:sldChg chg="del">
        <pc:chgData name="Pio Parma" userId="9f05d00a-e537-49d7-8068-10844eaca034" providerId="ADAL" clId="{C1CE429F-B11C-4E27-9CFF-89149C269316}" dt="2025-06-24T22:27:14.460" v="326" actId="47"/>
        <pc:sldMkLst>
          <pc:docMk/>
          <pc:sldMk cId="131038984" sldId="2147483618"/>
        </pc:sldMkLst>
      </pc:sldChg>
      <pc:sldChg chg="del">
        <pc:chgData name="Pio Parma" userId="9f05d00a-e537-49d7-8068-10844eaca034" providerId="ADAL" clId="{C1CE429F-B11C-4E27-9CFF-89149C269316}" dt="2025-06-24T22:27:14.460" v="326" actId="47"/>
        <pc:sldMkLst>
          <pc:docMk/>
          <pc:sldMk cId="189845450" sldId="2147483619"/>
        </pc:sldMkLst>
      </pc:sldChg>
      <pc:sldMasterChg chg="addSp delSp modSp mod delSldLayout">
        <pc:chgData name="Pio Parma" userId="9f05d00a-e537-49d7-8068-10844eaca034" providerId="ADAL" clId="{C1CE429F-B11C-4E27-9CFF-89149C269316}" dt="2025-06-24T22:50:39.987" v="870"/>
        <pc:sldMasterMkLst>
          <pc:docMk/>
          <pc:sldMasterMk cId="2836490435" sldId="2147483648"/>
        </pc:sldMasterMkLst>
        <pc:picChg chg="del">
          <ac:chgData name="Pio Parma" userId="9f05d00a-e537-49d7-8068-10844eaca034" providerId="ADAL" clId="{C1CE429F-B11C-4E27-9CFF-89149C269316}" dt="2025-06-24T22:50:38.182" v="869" actId="478"/>
          <ac:picMkLst>
            <pc:docMk/>
            <pc:sldMasterMk cId="2836490435" sldId="2147483648"/>
            <ac:picMk id="3" creationId="{BD9574C0-451F-A03B-3F26-3932EDBEE053}"/>
          </ac:picMkLst>
        </pc:picChg>
        <pc:picChg chg="add mod">
          <ac:chgData name="Pio Parma" userId="9f05d00a-e537-49d7-8068-10844eaca034" providerId="ADAL" clId="{C1CE429F-B11C-4E27-9CFF-89149C269316}" dt="2025-06-24T22:50:39.987" v="870"/>
          <ac:picMkLst>
            <pc:docMk/>
            <pc:sldMasterMk cId="2836490435" sldId="2147483648"/>
            <ac:picMk id="4" creationId="{ED0D45C5-4E88-7A3A-93B8-45968E2A25FD}"/>
          </ac:picMkLst>
        </pc:picChg>
        <pc:sldLayoutChg chg="del">
          <pc:chgData name="Pio Parma" userId="9f05d00a-e537-49d7-8068-10844eaca034" providerId="ADAL" clId="{C1CE429F-B11C-4E27-9CFF-89149C269316}" dt="2025-06-24T22:27:14.460" v="326" actId="47"/>
          <pc:sldLayoutMkLst>
            <pc:docMk/>
            <pc:sldMasterMk cId="2836490435" sldId="2147483648"/>
            <pc:sldLayoutMk cId="1761932007" sldId="2147483853"/>
          </pc:sldLayoutMkLst>
        </pc:sldLayoutChg>
        <pc:sldLayoutChg chg="del">
          <pc:chgData name="Pio Parma" userId="9f05d00a-e537-49d7-8068-10844eaca034" providerId="ADAL" clId="{C1CE429F-B11C-4E27-9CFF-89149C269316}" dt="2025-06-24T22:44:39.509" v="744" actId="47"/>
          <pc:sldLayoutMkLst>
            <pc:docMk/>
            <pc:sldMasterMk cId="2836490435" sldId="2147483648"/>
            <pc:sldLayoutMk cId="3997263760" sldId="2147483990"/>
          </pc:sldLayoutMkLst>
        </pc:sldLayoutChg>
        <pc:sldLayoutChg chg="del">
          <pc:chgData name="Pio Parma" userId="9f05d00a-e537-49d7-8068-10844eaca034" providerId="ADAL" clId="{C1CE429F-B11C-4E27-9CFF-89149C269316}" dt="2025-06-24T22:27:14.460" v="326" actId="47"/>
          <pc:sldLayoutMkLst>
            <pc:docMk/>
            <pc:sldMasterMk cId="2836490435" sldId="2147483648"/>
            <pc:sldLayoutMk cId="852899326" sldId="2147484116"/>
          </pc:sldLayoutMkLst>
        </pc:sldLayoutChg>
      </pc:sldMasterChg>
      <pc:sldMasterChg chg="addSp delSp modSp mod delSldLayout modSldLayout">
        <pc:chgData name="Pio Parma" userId="9f05d00a-e537-49d7-8068-10844eaca034" providerId="ADAL" clId="{C1CE429F-B11C-4E27-9CFF-89149C269316}" dt="2025-06-24T22:50:15.789" v="867"/>
        <pc:sldMasterMkLst>
          <pc:docMk/>
          <pc:sldMasterMk cId="2584381504" sldId="2147484069"/>
        </pc:sldMasterMkLst>
        <pc:picChg chg="del">
          <ac:chgData name="Pio Parma" userId="9f05d00a-e537-49d7-8068-10844eaca034" providerId="ADAL" clId="{C1CE429F-B11C-4E27-9CFF-89149C269316}" dt="2025-06-24T22:50:15.162" v="866" actId="478"/>
          <ac:picMkLst>
            <pc:docMk/>
            <pc:sldMasterMk cId="2584381504" sldId="2147484069"/>
            <ac:picMk id="3" creationId="{E82E2283-3F4A-205A-9571-57EE1C72DC93}"/>
          </ac:picMkLst>
        </pc:picChg>
        <pc:picChg chg="add mod">
          <ac:chgData name="Pio Parma" userId="9f05d00a-e537-49d7-8068-10844eaca034" providerId="ADAL" clId="{C1CE429F-B11C-4E27-9CFF-89149C269316}" dt="2025-06-24T22:50:15.789" v="867"/>
          <ac:picMkLst>
            <pc:docMk/>
            <pc:sldMasterMk cId="2584381504" sldId="2147484069"/>
            <ac:picMk id="4" creationId="{6E992FBD-7476-AAC6-077D-4E9AEFB2C6F6}"/>
          </ac:picMkLst>
        </pc:picChg>
        <pc:sldLayoutChg chg="del">
          <pc:chgData name="Pio Parma" userId="9f05d00a-e537-49d7-8068-10844eaca034" providerId="ADAL" clId="{C1CE429F-B11C-4E27-9CFF-89149C269316}" dt="2025-06-24T22:27:14.460" v="326" actId="47"/>
          <pc:sldLayoutMkLst>
            <pc:docMk/>
            <pc:sldMasterMk cId="2584381504" sldId="2147484069"/>
            <pc:sldLayoutMk cId="1829352840" sldId="2147484081"/>
          </pc:sldLayoutMkLst>
        </pc:sldLayoutChg>
        <pc:sldLayoutChg chg="del">
          <pc:chgData name="Pio Parma" userId="9f05d00a-e537-49d7-8068-10844eaca034" providerId="ADAL" clId="{C1CE429F-B11C-4E27-9CFF-89149C269316}" dt="2025-06-24T22:27:14.460" v="326" actId="47"/>
          <pc:sldLayoutMkLst>
            <pc:docMk/>
            <pc:sldMasterMk cId="2584381504" sldId="2147484069"/>
            <pc:sldLayoutMk cId="940558167" sldId="2147484083"/>
          </pc:sldLayoutMkLst>
        </pc:sldLayoutChg>
        <pc:sldLayoutChg chg="del">
          <pc:chgData name="Pio Parma" userId="9f05d00a-e537-49d7-8068-10844eaca034" providerId="ADAL" clId="{C1CE429F-B11C-4E27-9CFF-89149C269316}" dt="2025-06-24T22:27:14.460" v="326" actId="47"/>
          <pc:sldLayoutMkLst>
            <pc:docMk/>
            <pc:sldMasterMk cId="2584381504" sldId="2147484069"/>
            <pc:sldLayoutMk cId="3028846785" sldId="2147484085"/>
          </pc:sldLayoutMkLst>
        </pc:sldLayoutChg>
        <pc:sldLayoutChg chg="del">
          <pc:chgData name="Pio Parma" userId="9f05d00a-e537-49d7-8068-10844eaca034" providerId="ADAL" clId="{C1CE429F-B11C-4E27-9CFF-89149C269316}" dt="2025-06-24T22:27:14.460" v="326" actId="47"/>
          <pc:sldLayoutMkLst>
            <pc:docMk/>
            <pc:sldMasterMk cId="2584381504" sldId="2147484069"/>
            <pc:sldLayoutMk cId="4081112299" sldId="2147484086"/>
          </pc:sldLayoutMkLst>
        </pc:sldLayoutChg>
        <pc:sldLayoutChg chg="del">
          <pc:chgData name="Pio Parma" userId="9f05d00a-e537-49d7-8068-10844eaca034" providerId="ADAL" clId="{C1CE429F-B11C-4E27-9CFF-89149C269316}" dt="2025-06-24T22:27:14.460" v="326" actId="47"/>
          <pc:sldLayoutMkLst>
            <pc:docMk/>
            <pc:sldMasterMk cId="2584381504" sldId="2147484069"/>
            <pc:sldLayoutMk cId="1221766391" sldId="2147484089"/>
          </pc:sldLayoutMkLst>
        </pc:sldLayoutChg>
        <pc:sldLayoutChg chg="del">
          <pc:chgData name="Pio Parma" userId="9f05d00a-e537-49d7-8068-10844eaca034" providerId="ADAL" clId="{C1CE429F-B11C-4E27-9CFF-89149C269316}" dt="2025-06-24T22:27:14.460" v="326" actId="47"/>
          <pc:sldLayoutMkLst>
            <pc:docMk/>
            <pc:sldMasterMk cId="2584381504" sldId="2147484069"/>
            <pc:sldLayoutMk cId="2867764734" sldId="2147484090"/>
          </pc:sldLayoutMkLst>
        </pc:sldLayoutChg>
        <pc:sldLayoutChg chg="modSp">
          <pc:chgData name="Pio Parma" userId="9f05d00a-e537-49d7-8068-10844eaca034" providerId="ADAL" clId="{C1CE429F-B11C-4E27-9CFF-89149C269316}" dt="2025-06-24T22:50:00.481" v="863" actId="735"/>
          <pc:sldLayoutMkLst>
            <pc:docMk/>
            <pc:sldMasterMk cId="2584381504" sldId="2147484069"/>
            <pc:sldLayoutMk cId="119885422" sldId="2147484091"/>
          </pc:sldLayoutMkLst>
        </pc:sldLayoutChg>
        <pc:sldLayoutChg chg="del">
          <pc:chgData name="Pio Parma" userId="9f05d00a-e537-49d7-8068-10844eaca034" providerId="ADAL" clId="{C1CE429F-B11C-4E27-9CFF-89149C269316}" dt="2025-06-24T22:27:14.460" v="326" actId="47"/>
          <pc:sldLayoutMkLst>
            <pc:docMk/>
            <pc:sldMasterMk cId="2584381504" sldId="2147484069"/>
            <pc:sldLayoutMk cId="3079149870" sldId="2147484117"/>
          </pc:sldLayoutMkLst>
        </pc:sldLayoutChg>
        <pc:sldLayoutChg chg="del">
          <pc:chgData name="Pio Parma" userId="9f05d00a-e537-49d7-8068-10844eaca034" providerId="ADAL" clId="{C1CE429F-B11C-4E27-9CFF-89149C269316}" dt="2025-06-24T22:27:14.460" v="326" actId="47"/>
          <pc:sldLayoutMkLst>
            <pc:docMk/>
            <pc:sldMasterMk cId="2584381504" sldId="2147484069"/>
            <pc:sldLayoutMk cId="3926222751" sldId="2147484118"/>
          </pc:sldLayoutMkLst>
        </pc:sldLayoutChg>
        <pc:sldLayoutChg chg="del">
          <pc:chgData name="Pio Parma" userId="9f05d00a-e537-49d7-8068-10844eaca034" providerId="ADAL" clId="{C1CE429F-B11C-4E27-9CFF-89149C269316}" dt="2025-06-24T22:27:14.460" v="326" actId="47"/>
          <pc:sldLayoutMkLst>
            <pc:docMk/>
            <pc:sldMasterMk cId="2584381504" sldId="2147484069"/>
            <pc:sldLayoutMk cId="2003038698" sldId="2147484119"/>
          </pc:sldLayoutMkLst>
        </pc:sldLayoutChg>
        <pc:sldLayoutChg chg="del">
          <pc:chgData name="Pio Parma" userId="9f05d00a-e537-49d7-8068-10844eaca034" providerId="ADAL" clId="{C1CE429F-B11C-4E27-9CFF-89149C269316}" dt="2025-06-24T22:27:14.460" v="326" actId="47"/>
          <pc:sldLayoutMkLst>
            <pc:docMk/>
            <pc:sldMasterMk cId="2584381504" sldId="2147484069"/>
            <pc:sldLayoutMk cId="117808830" sldId="2147484122"/>
          </pc:sldLayoutMkLst>
        </pc:sldLayoutChg>
        <pc:sldLayoutChg chg="del">
          <pc:chgData name="Pio Parma" userId="9f05d00a-e537-49d7-8068-10844eaca034" providerId="ADAL" clId="{C1CE429F-B11C-4E27-9CFF-89149C269316}" dt="2025-06-24T22:27:14.460" v="326" actId="47"/>
          <pc:sldLayoutMkLst>
            <pc:docMk/>
            <pc:sldMasterMk cId="2584381504" sldId="2147484069"/>
            <pc:sldLayoutMk cId="2958535849" sldId="2147484123"/>
          </pc:sldLayoutMkLst>
        </pc:sldLayoutChg>
        <pc:sldLayoutChg chg="del">
          <pc:chgData name="Pio Parma" userId="9f05d00a-e537-49d7-8068-10844eaca034" providerId="ADAL" clId="{C1CE429F-B11C-4E27-9CFF-89149C269316}" dt="2025-06-24T22:27:14.460" v="326" actId="47"/>
          <pc:sldLayoutMkLst>
            <pc:docMk/>
            <pc:sldMasterMk cId="2584381504" sldId="2147484069"/>
            <pc:sldLayoutMk cId="3452391931" sldId="2147484124"/>
          </pc:sldLayoutMkLst>
        </pc:sldLayoutChg>
      </pc:sldMasterChg>
      <pc:sldMasterChg chg="modSp delSldLayout">
        <pc:chgData name="Pio Parma" userId="9f05d00a-e537-49d7-8068-10844eaca034" providerId="ADAL" clId="{C1CE429F-B11C-4E27-9CFF-89149C269316}" dt="2025-06-24T22:50:02.770" v="864" actId="735"/>
        <pc:sldMasterMkLst>
          <pc:docMk/>
          <pc:sldMasterMk cId="1934833029" sldId="2147484093"/>
        </pc:sldMasterMkLst>
        <pc:sldLayoutChg chg="del">
          <pc:chgData name="Pio Parma" userId="9f05d00a-e537-49d7-8068-10844eaca034" providerId="ADAL" clId="{C1CE429F-B11C-4E27-9CFF-89149C269316}" dt="2025-06-24T22:27:14.460" v="326" actId="47"/>
          <pc:sldLayoutMkLst>
            <pc:docMk/>
            <pc:sldMasterMk cId="1934833029" sldId="2147484093"/>
            <pc:sldLayoutMk cId="899420100" sldId="2147484104"/>
          </pc:sldLayoutMkLst>
        </pc:sldLayoutChg>
      </pc:sldMasterChg>
      <pc:sldMasterChg chg="delSldLayout">
        <pc:chgData name="Pio Parma" userId="9f05d00a-e537-49d7-8068-10844eaca034" providerId="ADAL" clId="{C1CE429F-B11C-4E27-9CFF-89149C269316}" dt="2025-06-24T22:34:37.105" v="389" actId="47"/>
        <pc:sldMasterMkLst>
          <pc:docMk/>
          <pc:sldMasterMk cId="2031271794" sldId="2147484117"/>
        </pc:sldMasterMkLst>
        <pc:sldLayoutChg chg="del">
          <pc:chgData name="Pio Parma" userId="9f05d00a-e537-49d7-8068-10844eaca034" providerId="ADAL" clId="{C1CE429F-B11C-4E27-9CFF-89149C269316}" dt="2025-06-24T22:34:37.105" v="389" actId="47"/>
          <pc:sldLayoutMkLst>
            <pc:docMk/>
            <pc:sldMasterMk cId="2031271794" sldId="2147484117"/>
            <pc:sldLayoutMk cId="1570117345" sldId="2147484128"/>
          </pc:sldLayoutMkLst>
        </pc:sldLayoutChg>
      </pc:sldMasterChg>
    </pc:docChg>
  </pc:docChgLst>
  <pc:docChgLst>
    <pc:chgData name="Pio Parma" userId="9f05d00a-e537-49d7-8068-10844eaca034" providerId="ADAL" clId="{AE5AB2BB-A16E-4143-8E58-03F5B98A59A3}"/>
    <pc:docChg chg="undo custSel addSld delSld modSld sldOrd modMainMaster modSection modNotesMaster">
      <pc:chgData name="Pio Parma" userId="9f05d00a-e537-49d7-8068-10844eaca034" providerId="ADAL" clId="{AE5AB2BB-A16E-4143-8E58-03F5B98A59A3}" dt="2025-06-25T01:04:34.060" v="2508" actId="6549"/>
      <pc:docMkLst>
        <pc:docMk/>
      </pc:docMkLst>
      <pc:sldChg chg="modSp mod modNotes">
        <pc:chgData name="Pio Parma" userId="9f05d00a-e537-49d7-8068-10844eaca034" providerId="ADAL" clId="{AE5AB2BB-A16E-4143-8E58-03F5B98A59A3}" dt="2025-06-25T00:49:56.514" v="2182"/>
        <pc:sldMkLst>
          <pc:docMk/>
          <pc:sldMk cId="2590303566" sldId="2147376736"/>
        </pc:sldMkLst>
        <pc:spChg chg="mod">
          <ac:chgData name="Pio Parma" userId="9f05d00a-e537-49d7-8068-10844eaca034" providerId="ADAL" clId="{AE5AB2BB-A16E-4143-8E58-03F5B98A59A3}" dt="2025-06-25T00:49:56.514" v="2182"/>
          <ac:spMkLst>
            <pc:docMk/>
            <pc:sldMk cId="2590303566" sldId="2147376736"/>
            <ac:spMk id="5" creationId="{0359DC84-D002-7378-C1F7-513505F1E485}"/>
          </ac:spMkLst>
        </pc:spChg>
        <pc:spChg chg="mod">
          <ac:chgData name="Pio Parma" userId="9f05d00a-e537-49d7-8068-10844eaca034" providerId="ADAL" clId="{AE5AB2BB-A16E-4143-8E58-03F5B98A59A3}" dt="2025-06-25T00:49:56.514" v="2182"/>
          <ac:spMkLst>
            <pc:docMk/>
            <pc:sldMk cId="2590303566" sldId="2147376736"/>
            <ac:spMk id="8" creationId="{3CAC02F9-6A35-07CD-375F-65B1BE4A040B}"/>
          </ac:spMkLst>
        </pc:spChg>
        <pc:spChg chg="mod">
          <ac:chgData name="Pio Parma" userId="9f05d00a-e537-49d7-8068-10844eaca034" providerId="ADAL" clId="{AE5AB2BB-A16E-4143-8E58-03F5B98A59A3}" dt="2025-06-25T00:49:56.514" v="2182"/>
          <ac:spMkLst>
            <pc:docMk/>
            <pc:sldMk cId="2590303566" sldId="2147376736"/>
            <ac:spMk id="23" creationId="{8EEF087B-6652-7476-03D8-F446F6F8081D}"/>
          </ac:spMkLst>
        </pc:spChg>
        <pc:graphicFrameChg chg="mod">
          <ac:chgData name="Pio Parma" userId="9f05d00a-e537-49d7-8068-10844eaca034" providerId="ADAL" clId="{AE5AB2BB-A16E-4143-8E58-03F5B98A59A3}" dt="2025-06-25T00:49:56.514" v="2182"/>
          <ac:graphicFrameMkLst>
            <pc:docMk/>
            <pc:sldMk cId="2590303566" sldId="2147376736"/>
            <ac:graphicFrameMk id="2" creationId="{7B69B0A8-7A44-C54F-B479-121E1D767FB9}"/>
          </ac:graphicFrameMkLst>
        </pc:graphicFrameChg>
        <pc:picChg chg="mod">
          <ac:chgData name="Pio Parma" userId="9f05d00a-e537-49d7-8068-10844eaca034" providerId="ADAL" clId="{AE5AB2BB-A16E-4143-8E58-03F5B98A59A3}" dt="2025-06-25T00:49:56.514" v="2182"/>
          <ac:picMkLst>
            <pc:docMk/>
            <pc:sldMk cId="2590303566" sldId="2147376736"/>
            <ac:picMk id="4" creationId="{624FAAEB-D3F7-B5A0-DA90-1DD72CF8E0FE}"/>
          </ac:picMkLst>
        </pc:picChg>
      </pc:sldChg>
      <pc:sldChg chg="delSp modSp add del mod">
        <pc:chgData name="Pio Parma" userId="9f05d00a-e537-49d7-8068-10844eaca034" providerId="ADAL" clId="{AE5AB2BB-A16E-4143-8E58-03F5B98A59A3}" dt="2025-06-25T00:39:45.785" v="2034" actId="2696"/>
        <pc:sldMkLst>
          <pc:docMk/>
          <pc:sldMk cId="1205427658" sldId="2147472508"/>
        </pc:sldMkLst>
        <pc:spChg chg="mod">
          <ac:chgData name="Pio Parma" userId="9f05d00a-e537-49d7-8068-10844eaca034" providerId="ADAL" clId="{AE5AB2BB-A16E-4143-8E58-03F5B98A59A3}" dt="2025-06-25T00:23:21.676" v="1141" actId="20577"/>
          <ac:spMkLst>
            <pc:docMk/>
            <pc:sldMk cId="1205427658" sldId="2147472508"/>
            <ac:spMk id="2" creationId="{74AEAC94-BB1E-6116-6614-5CCFDF1E8189}"/>
          </ac:spMkLst>
        </pc:spChg>
        <pc:spChg chg="mod">
          <ac:chgData name="Pio Parma" userId="9f05d00a-e537-49d7-8068-10844eaca034" providerId="ADAL" clId="{AE5AB2BB-A16E-4143-8E58-03F5B98A59A3}" dt="2025-06-25T00:23:33.926" v="1151" actId="20577"/>
          <ac:spMkLst>
            <pc:docMk/>
            <pc:sldMk cId="1205427658" sldId="2147472508"/>
            <ac:spMk id="5" creationId="{130AF7BD-8FCD-BBE5-E9C4-C6A91FDC0DE8}"/>
          </ac:spMkLst>
        </pc:spChg>
        <pc:spChg chg="mod">
          <ac:chgData name="Pio Parma" userId="9f05d00a-e537-49d7-8068-10844eaca034" providerId="ADAL" clId="{AE5AB2BB-A16E-4143-8E58-03F5B98A59A3}" dt="2025-06-25T00:23:28.348" v="1144" actId="20577"/>
          <ac:spMkLst>
            <pc:docMk/>
            <pc:sldMk cId="1205427658" sldId="2147472508"/>
            <ac:spMk id="10" creationId="{E4361D2B-2FAF-69F7-9EE9-5B12D6B48EA8}"/>
          </ac:spMkLst>
        </pc:spChg>
        <pc:spChg chg="mod">
          <ac:chgData name="Pio Parma" userId="9f05d00a-e537-49d7-8068-10844eaca034" providerId="ADAL" clId="{AE5AB2BB-A16E-4143-8E58-03F5B98A59A3}" dt="2025-06-25T00:23:15.848" v="1133" actId="20577"/>
          <ac:spMkLst>
            <pc:docMk/>
            <pc:sldMk cId="1205427658" sldId="2147472508"/>
            <ac:spMk id="28" creationId="{2D2B9682-AF50-5637-71F9-590D4251AA31}"/>
          </ac:spMkLst>
        </pc:spChg>
        <pc:picChg chg="del">
          <ac:chgData name="Pio Parma" userId="9f05d00a-e537-49d7-8068-10844eaca034" providerId="ADAL" clId="{AE5AB2BB-A16E-4143-8E58-03F5B98A59A3}" dt="2025-06-25T00:23:11.333" v="1130" actId="478"/>
          <ac:picMkLst>
            <pc:docMk/>
            <pc:sldMk cId="1205427658" sldId="2147472508"/>
            <ac:picMk id="3" creationId="{98F908AD-BF7A-0930-A218-362873172476}"/>
          </ac:picMkLst>
        </pc:picChg>
      </pc:sldChg>
      <pc:sldChg chg="delSp modSp add del mod modNotes">
        <pc:chgData name="Pio Parma" userId="9f05d00a-e537-49d7-8068-10844eaca034" providerId="ADAL" clId="{AE5AB2BB-A16E-4143-8E58-03F5B98A59A3}" dt="2025-06-25T00:50:37.611" v="2187" actId="47"/>
        <pc:sldMkLst>
          <pc:docMk/>
          <pc:sldMk cId="4248464347" sldId="2147472508"/>
        </pc:sldMkLst>
        <pc:spChg chg="mod">
          <ac:chgData name="Pio Parma" userId="9f05d00a-e537-49d7-8068-10844eaca034" providerId="ADAL" clId="{AE5AB2BB-A16E-4143-8E58-03F5B98A59A3}" dt="2025-06-25T00:50:24.138" v="2184" actId="21"/>
          <ac:spMkLst>
            <pc:docMk/>
            <pc:sldMk cId="4248464347" sldId="2147472508"/>
            <ac:spMk id="2" creationId="{74AEAC94-BB1E-6116-6614-5CCFDF1E8189}"/>
          </ac:spMkLst>
        </pc:spChg>
        <pc:spChg chg="del mod">
          <ac:chgData name="Pio Parma" userId="9f05d00a-e537-49d7-8068-10844eaca034" providerId="ADAL" clId="{AE5AB2BB-A16E-4143-8E58-03F5B98A59A3}" dt="2025-06-25T00:50:35.523" v="2186" actId="21"/>
          <ac:spMkLst>
            <pc:docMk/>
            <pc:sldMk cId="4248464347" sldId="2147472508"/>
            <ac:spMk id="5" creationId="{130AF7BD-8FCD-BBE5-E9C4-C6A91FDC0DE8}"/>
          </ac:spMkLst>
        </pc:spChg>
        <pc:spChg chg="del mod">
          <ac:chgData name="Pio Parma" userId="9f05d00a-e537-49d7-8068-10844eaca034" providerId="ADAL" clId="{AE5AB2BB-A16E-4143-8E58-03F5B98A59A3}" dt="2025-06-25T00:50:35.523" v="2186" actId="21"/>
          <ac:spMkLst>
            <pc:docMk/>
            <pc:sldMk cId="4248464347" sldId="2147472508"/>
            <ac:spMk id="10" creationId="{E4361D2B-2FAF-69F7-9EE9-5B12D6B48EA8}"/>
          </ac:spMkLst>
        </pc:spChg>
        <pc:spChg chg="del mod">
          <ac:chgData name="Pio Parma" userId="9f05d00a-e537-49d7-8068-10844eaca034" providerId="ADAL" clId="{AE5AB2BB-A16E-4143-8E58-03F5B98A59A3}" dt="2025-06-25T00:50:35.523" v="2186" actId="21"/>
          <ac:spMkLst>
            <pc:docMk/>
            <pc:sldMk cId="4248464347" sldId="2147472508"/>
            <ac:spMk id="23" creationId="{7BC63273-2D76-3287-9012-826A9DB9182F}"/>
          </ac:spMkLst>
        </pc:spChg>
        <pc:spChg chg="del mod">
          <ac:chgData name="Pio Parma" userId="9f05d00a-e537-49d7-8068-10844eaca034" providerId="ADAL" clId="{AE5AB2BB-A16E-4143-8E58-03F5B98A59A3}" dt="2025-06-25T00:50:35.523" v="2186" actId="21"/>
          <ac:spMkLst>
            <pc:docMk/>
            <pc:sldMk cId="4248464347" sldId="2147472508"/>
            <ac:spMk id="24" creationId="{9C9B4B81-F2A1-6DE3-7024-F4DB6691494B}"/>
          </ac:spMkLst>
        </pc:spChg>
        <pc:spChg chg="del mod">
          <ac:chgData name="Pio Parma" userId="9f05d00a-e537-49d7-8068-10844eaca034" providerId="ADAL" clId="{AE5AB2BB-A16E-4143-8E58-03F5B98A59A3}" dt="2025-06-25T00:50:35.523" v="2186" actId="21"/>
          <ac:spMkLst>
            <pc:docMk/>
            <pc:sldMk cId="4248464347" sldId="2147472508"/>
            <ac:spMk id="25" creationId="{84AFD5D3-8455-CF0C-EB8F-2D4AF9C11E4C}"/>
          </ac:spMkLst>
        </pc:spChg>
        <pc:spChg chg="del mod">
          <ac:chgData name="Pio Parma" userId="9f05d00a-e537-49d7-8068-10844eaca034" providerId="ADAL" clId="{AE5AB2BB-A16E-4143-8E58-03F5B98A59A3}" dt="2025-06-25T00:50:35.523" v="2186" actId="21"/>
          <ac:spMkLst>
            <pc:docMk/>
            <pc:sldMk cId="4248464347" sldId="2147472508"/>
            <ac:spMk id="26" creationId="{05899F51-C14A-F98C-84B0-E88D696E0C45}"/>
          </ac:spMkLst>
        </pc:spChg>
        <pc:spChg chg="del mod">
          <ac:chgData name="Pio Parma" userId="9f05d00a-e537-49d7-8068-10844eaca034" providerId="ADAL" clId="{AE5AB2BB-A16E-4143-8E58-03F5B98A59A3}" dt="2025-06-25T00:50:35.523" v="2186" actId="21"/>
          <ac:spMkLst>
            <pc:docMk/>
            <pc:sldMk cId="4248464347" sldId="2147472508"/>
            <ac:spMk id="28" creationId="{2D2B9682-AF50-5637-71F9-590D4251AA31}"/>
          </ac:spMkLst>
        </pc:spChg>
        <pc:graphicFrameChg chg="del mod">
          <ac:chgData name="Pio Parma" userId="9f05d00a-e537-49d7-8068-10844eaca034" providerId="ADAL" clId="{AE5AB2BB-A16E-4143-8E58-03F5B98A59A3}" dt="2025-06-25T00:50:35.523" v="2186" actId="21"/>
          <ac:graphicFrameMkLst>
            <pc:docMk/>
            <pc:sldMk cId="4248464347" sldId="2147472508"/>
            <ac:graphicFrameMk id="22" creationId="{258E6158-CA3E-9BFC-04FD-A0D8BB5C934A}"/>
          </ac:graphicFrameMkLst>
        </pc:graphicFrameChg>
      </pc:sldChg>
      <pc:sldChg chg="delSp modSp add del mod">
        <pc:chgData name="Pio Parma" userId="9f05d00a-e537-49d7-8068-10844eaca034" providerId="ADAL" clId="{AE5AB2BB-A16E-4143-8E58-03F5B98A59A3}" dt="2025-06-25T00:39:45.785" v="2034" actId="2696"/>
        <pc:sldMkLst>
          <pc:docMk/>
          <pc:sldMk cId="2292741585" sldId="2147472509"/>
        </pc:sldMkLst>
        <pc:spChg chg="mod">
          <ac:chgData name="Pio Parma" userId="9f05d00a-e537-49d7-8068-10844eaca034" providerId="ADAL" clId="{AE5AB2BB-A16E-4143-8E58-03F5B98A59A3}" dt="2025-06-25T00:24:00.510" v="1168" actId="14100"/>
          <ac:spMkLst>
            <pc:docMk/>
            <pc:sldMk cId="2292741585" sldId="2147472509"/>
            <ac:spMk id="2" creationId="{74AEAC94-BB1E-6116-6614-5CCFDF1E8189}"/>
          </ac:spMkLst>
        </pc:spChg>
        <pc:spChg chg="mod">
          <ac:chgData name="Pio Parma" userId="9f05d00a-e537-49d7-8068-10844eaca034" providerId="ADAL" clId="{AE5AB2BB-A16E-4143-8E58-03F5B98A59A3}" dt="2025-06-25T00:24:20.813" v="1171" actId="207"/>
          <ac:spMkLst>
            <pc:docMk/>
            <pc:sldMk cId="2292741585" sldId="2147472509"/>
            <ac:spMk id="3" creationId="{0911D152-7518-9730-862D-EE03FF0DC614}"/>
          </ac:spMkLst>
        </pc:spChg>
        <pc:spChg chg="mod">
          <ac:chgData name="Pio Parma" userId="9f05d00a-e537-49d7-8068-10844eaca034" providerId="ADAL" clId="{AE5AB2BB-A16E-4143-8E58-03F5B98A59A3}" dt="2025-06-25T00:24:20.813" v="1171" actId="207"/>
          <ac:spMkLst>
            <pc:docMk/>
            <pc:sldMk cId="2292741585" sldId="2147472509"/>
            <ac:spMk id="4" creationId="{EBE7AABD-C8BD-E55D-7E0D-DF26E9336937}"/>
          </ac:spMkLst>
        </pc:spChg>
        <pc:spChg chg="mod">
          <ac:chgData name="Pio Parma" userId="9f05d00a-e537-49d7-8068-10844eaca034" providerId="ADAL" clId="{AE5AB2BB-A16E-4143-8E58-03F5B98A59A3}" dt="2025-06-25T00:24:20.813" v="1171" actId="207"/>
          <ac:spMkLst>
            <pc:docMk/>
            <pc:sldMk cId="2292741585" sldId="2147472509"/>
            <ac:spMk id="7" creationId="{636DD590-19EA-70AD-84C9-2423095A366A}"/>
          </ac:spMkLst>
        </pc:spChg>
        <pc:spChg chg="mod">
          <ac:chgData name="Pio Parma" userId="9f05d00a-e537-49d7-8068-10844eaca034" providerId="ADAL" clId="{AE5AB2BB-A16E-4143-8E58-03F5B98A59A3}" dt="2025-06-25T00:24:11.556" v="1170" actId="20577"/>
          <ac:spMkLst>
            <pc:docMk/>
            <pc:sldMk cId="2292741585" sldId="2147472509"/>
            <ac:spMk id="26" creationId="{6540F8A2-7A59-D790-AE81-9B832998983D}"/>
          </ac:spMkLst>
        </pc:spChg>
        <pc:spChg chg="mod">
          <ac:chgData name="Pio Parma" userId="9f05d00a-e537-49d7-8068-10844eaca034" providerId="ADAL" clId="{AE5AB2BB-A16E-4143-8E58-03F5B98A59A3}" dt="2025-06-25T00:24:20.813" v="1171" actId="207"/>
          <ac:spMkLst>
            <pc:docMk/>
            <pc:sldMk cId="2292741585" sldId="2147472509"/>
            <ac:spMk id="27" creationId="{36B97BBE-28B0-FE91-8D10-EC0836295DA8}"/>
          </ac:spMkLst>
        </pc:spChg>
        <pc:spChg chg="mod">
          <ac:chgData name="Pio Parma" userId="9f05d00a-e537-49d7-8068-10844eaca034" providerId="ADAL" clId="{AE5AB2BB-A16E-4143-8E58-03F5B98A59A3}" dt="2025-06-25T00:24:20.813" v="1171" actId="207"/>
          <ac:spMkLst>
            <pc:docMk/>
            <pc:sldMk cId="2292741585" sldId="2147472509"/>
            <ac:spMk id="28" creationId="{ACEAA232-64F1-3859-388B-3209B4A1FF22}"/>
          </ac:spMkLst>
        </pc:spChg>
        <pc:spChg chg="mod">
          <ac:chgData name="Pio Parma" userId="9f05d00a-e537-49d7-8068-10844eaca034" providerId="ADAL" clId="{AE5AB2BB-A16E-4143-8E58-03F5B98A59A3}" dt="2025-06-25T00:24:20.813" v="1171" actId="207"/>
          <ac:spMkLst>
            <pc:docMk/>
            <pc:sldMk cId="2292741585" sldId="2147472509"/>
            <ac:spMk id="29" creationId="{EBDE3229-1BFB-1D5B-9A24-EE7D9E99F5B9}"/>
          </ac:spMkLst>
        </pc:spChg>
        <pc:spChg chg="mod">
          <ac:chgData name="Pio Parma" userId="9f05d00a-e537-49d7-8068-10844eaca034" providerId="ADAL" clId="{AE5AB2BB-A16E-4143-8E58-03F5B98A59A3}" dt="2025-06-25T00:24:20.813" v="1171" actId="207"/>
          <ac:spMkLst>
            <pc:docMk/>
            <pc:sldMk cId="2292741585" sldId="2147472509"/>
            <ac:spMk id="30" creationId="{AE9400CE-2E6E-C2AA-3242-C1C920160DFF}"/>
          </ac:spMkLst>
        </pc:spChg>
        <pc:spChg chg="mod">
          <ac:chgData name="Pio Parma" userId="9f05d00a-e537-49d7-8068-10844eaca034" providerId="ADAL" clId="{AE5AB2BB-A16E-4143-8E58-03F5B98A59A3}" dt="2025-06-25T00:24:20.813" v="1171" actId="207"/>
          <ac:spMkLst>
            <pc:docMk/>
            <pc:sldMk cId="2292741585" sldId="2147472509"/>
            <ac:spMk id="31" creationId="{1A8DFA8B-3578-F227-86D7-46795554AD62}"/>
          </ac:spMkLst>
        </pc:spChg>
        <pc:spChg chg="mod">
          <ac:chgData name="Pio Parma" userId="9f05d00a-e537-49d7-8068-10844eaca034" providerId="ADAL" clId="{AE5AB2BB-A16E-4143-8E58-03F5B98A59A3}" dt="2025-06-25T00:24:20.813" v="1171" actId="207"/>
          <ac:spMkLst>
            <pc:docMk/>
            <pc:sldMk cId="2292741585" sldId="2147472509"/>
            <ac:spMk id="32" creationId="{05F09312-E157-E6A8-E206-6A0F2C297311}"/>
          </ac:spMkLst>
        </pc:spChg>
        <pc:spChg chg="mod">
          <ac:chgData name="Pio Parma" userId="9f05d00a-e537-49d7-8068-10844eaca034" providerId="ADAL" clId="{AE5AB2BB-A16E-4143-8E58-03F5B98A59A3}" dt="2025-06-25T00:24:20.813" v="1171" actId="207"/>
          <ac:spMkLst>
            <pc:docMk/>
            <pc:sldMk cId="2292741585" sldId="2147472509"/>
            <ac:spMk id="33" creationId="{E8F93BCD-77F0-8398-7086-6B72255BBE66}"/>
          </ac:spMkLst>
        </pc:spChg>
        <pc:picChg chg="del">
          <ac:chgData name="Pio Parma" userId="9f05d00a-e537-49d7-8068-10844eaca034" providerId="ADAL" clId="{AE5AB2BB-A16E-4143-8E58-03F5B98A59A3}" dt="2025-06-25T00:23:56.828" v="1167" actId="478"/>
          <ac:picMkLst>
            <pc:docMk/>
            <pc:sldMk cId="2292741585" sldId="2147472509"/>
            <ac:picMk id="5" creationId="{D5085B38-DAFC-9560-41E6-960701EE3BB2}"/>
          </ac:picMkLst>
        </pc:picChg>
      </pc:sldChg>
      <pc:sldChg chg="delSp modSp add del mod modNotes">
        <pc:chgData name="Pio Parma" userId="9f05d00a-e537-49d7-8068-10844eaca034" providerId="ADAL" clId="{AE5AB2BB-A16E-4143-8E58-03F5B98A59A3}" dt="2025-06-25T00:51:25.224" v="2202" actId="47"/>
        <pc:sldMkLst>
          <pc:docMk/>
          <pc:sldMk cId="2856664986" sldId="2147472509"/>
        </pc:sldMkLst>
        <pc:spChg chg="mod">
          <ac:chgData name="Pio Parma" userId="9f05d00a-e537-49d7-8068-10844eaca034" providerId="ADAL" clId="{AE5AB2BB-A16E-4143-8E58-03F5B98A59A3}" dt="2025-06-25T00:51:05.754" v="2196" actId="21"/>
          <ac:spMkLst>
            <pc:docMk/>
            <pc:sldMk cId="2856664986" sldId="2147472509"/>
            <ac:spMk id="2" creationId="{74AEAC94-BB1E-6116-6614-5CCFDF1E8189}"/>
          </ac:spMkLst>
        </pc:spChg>
        <pc:spChg chg="del mod">
          <ac:chgData name="Pio Parma" userId="9f05d00a-e537-49d7-8068-10844eaca034" providerId="ADAL" clId="{AE5AB2BB-A16E-4143-8E58-03F5B98A59A3}" dt="2025-06-25T00:51:19.982" v="2200" actId="21"/>
          <ac:spMkLst>
            <pc:docMk/>
            <pc:sldMk cId="2856664986" sldId="2147472509"/>
            <ac:spMk id="7" creationId="{636DD590-19EA-70AD-84C9-2423095A366A}"/>
          </ac:spMkLst>
        </pc:spChg>
        <pc:spChg chg="del mod">
          <ac:chgData name="Pio Parma" userId="9f05d00a-e537-49d7-8068-10844eaca034" providerId="ADAL" clId="{AE5AB2BB-A16E-4143-8E58-03F5B98A59A3}" dt="2025-06-25T00:51:19.982" v="2200" actId="21"/>
          <ac:spMkLst>
            <pc:docMk/>
            <pc:sldMk cId="2856664986" sldId="2147472509"/>
            <ac:spMk id="26" creationId="{6540F8A2-7A59-D790-AE81-9B832998983D}"/>
          </ac:spMkLst>
        </pc:spChg>
        <pc:spChg chg="del mod">
          <ac:chgData name="Pio Parma" userId="9f05d00a-e537-49d7-8068-10844eaca034" providerId="ADAL" clId="{AE5AB2BB-A16E-4143-8E58-03F5B98A59A3}" dt="2025-06-25T00:51:19.982" v="2200" actId="21"/>
          <ac:spMkLst>
            <pc:docMk/>
            <pc:sldMk cId="2856664986" sldId="2147472509"/>
            <ac:spMk id="27" creationId="{36B97BBE-28B0-FE91-8D10-EC0836295DA8}"/>
          </ac:spMkLst>
        </pc:spChg>
        <pc:spChg chg="del mod">
          <ac:chgData name="Pio Parma" userId="9f05d00a-e537-49d7-8068-10844eaca034" providerId="ADAL" clId="{AE5AB2BB-A16E-4143-8E58-03F5B98A59A3}" dt="2025-06-25T00:51:19.982" v="2200" actId="21"/>
          <ac:spMkLst>
            <pc:docMk/>
            <pc:sldMk cId="2856664986" sldId="2147472509"/>
            <ac:spMk id="28" creationId="{ACEAA232-64F1-3859-388B-3209B4A1FF22}"/>
          </ac:spMkLst>
        </pc:spChg>
        <pc:spChg chg="del mod">
          <ac:chgData name="Pio Parma" userId="9f05d00a-e537-49d7-8068-10844eaca034" providerId="ADAL" clId="{AE5AB2BB-A16E-4143-8E58-03F5B98A59A3}" dt="2025-06-25T00:51:19.982" v="2200" actId="21"/>
          <ac:spMkLst>
            <pc:docMk/>
            <pc:sldMk cId="2856664986" sldId="2147472509"/>
            <ac:spMk id="31" creationId="{1A8DFA8B-3578-F227-86D7-46795554AD62}"/>
          </ac:spMkLst>
        </pc:spChg>
        <pc:spChg chg="mod">
          <ac:chgData name="Pio Parma" userId="9f05d00a-e537-49d7-8068-10844eaca034" providerId="ADAL" clId="{AE5AB2BB-A16E-4143-8E58-03F5B98A59A3}" dt="2025-06-25T00:41:09.376" v="2037" actId="207"/>
          <ac:spMkLst>
            <pc:docMk/>
            <pc:sldMk cId="2856664986" sldId="2147472509"/>
            <ac:spMk id="34" creationId="{AE1159C6-E9B2-43BF-491A-EA60BE574D09}"/>
          </ac:spMkLst>
        </pc:spChg>
        <pc:spChg chg="mod">
          <ac:chgData name="Pio Parma" userId="9f05d00a-e537-49d7-8068-10844eaca034" providerId="ADAL" clId="{AE5AB2BB-A16E-4143-8E58-03F5B98A59A3}" dt="2025-06-25T00:41:09.376" v="2037" actId="207"/>
          <ac:spMkLst>
            <pc:docMk/>
            <pc:sldMk cId="2856664986" sldId="2147472509"/>
            <ac:spMk id="35" creationId="{A6568FEB-D526-F8E2-E3E0-B3CB70640F0A}"/>
          </ac:spMkLst>
        </pc:spChg>
        <pc:spChg chg="mod">
          <ac:chgData name="Pio Parma" userId="9f05d00a-e537-49d7-8068-10844eaca034" providerId="ADAL" clId="{AE5AB2BB-A16E-4143-8E58-03F5B98A59A3}" dt="2025-06-25T00:41:09.376" v="2037" actId="207"/>
          <ac:spMkLst>
            <pc:docMk/>
            <pc:sldMk cId="2856664986" sldId="2147472509"/>
            <ac:spMk id="36" creationId="{B35088D6-BAE5-E6B2-FD17-6F4DD9C3DEFD}"/>
          </ac:spMkLst>
        </pc:spChg>
        <pc:spChg chg="del mod">
          <ac:chgData name="Pio Parma" userId="9f05d00a-e537-49d7-8068-10844eaca034" providerId="ADAL" clId="{AE5AB2BB-A16E-4143-8E58-03F5B98A59A3}" dt="2025-06-25T00:51:19.982" v="2200" actId="21"/>
          <ac:spMkLst>
            <pc:docMk/>
            <pc:sldMk cId="2856664986" sldId="2147472509"/>
            <ac:spMk id="37" creationId="{1D6C2D1E-5E6D-58F4-6E77-682355E765E6}"/>
          </ac:spMkLst>
        </pc:spChg>
        <pc:spChg chg="mod">
          <ac:chgData name="Pio Parma" userId="9f05d00a-e537-49d7-8068-10844eaca034" providerId="ADAL" clId="{AE5AB2BB-A16E-4143-8E58-03F5B98A59A3}" dt="2025-06-25T00:41:09.376" v="2037" actId="207"/>
          <ac:spMkLst>
            <pc:docMk/>
            <pc:sldMk cId="2856664986" sldId="2147472509"/>
            <ac:spMk id="38" creationId="{3BC9793C-786E-8242-75CC-09255D0A501E}"/>
          </ac:spMkLst>
        </pc:spChg>
        <pc:spChg chg="del mod">
          <ac:chgData name="Pio Parma" userId="9f05d00a-e537-49d7-8068-10844eaca034" providerId="ADAL" clId="{AE5AB2BB-A16E-4143-8E58-03F5B98A59A3}" dt="2025-06-25T00:51:19.982" v="2200" actId="21"/>
          <ac:spMkLst>
            <pc:docMk/>
            <pc:sldMk cId="2856664986" sldId="2147472509"/>
            <ac:spMk id="39" creationId="{FCDC91A4-167B-4FBF-240A-5F3E93827703}"/>
          </ac:spMkLst>
        </pc:spChg>
        <pc:spChg chg="del mod">
          <ac:chgData name="Pio Parma" userId="9f05d00a-e537-49d7-8068-10844eaca034" providerId="ADAL" clId="{AE5AB2BB-A16E-4143-8E58-03F5B98A59A3}" dt="2025-06-25T00:51:19.982" v="2200" actId="21"/>
          <ac:spMkLst>
            <pc:docMk/>
            <pc:sldMk cId="2856664986" sldId="2147472509"/>
            <ac:spMk id="40" creationId="{B2443EAD-1107-2364-6056-7F37B8682909}"/>
          </ac:spMkLst>
        </pc:spChg>
        <pc:spChg chg="mod">
          <ac:chgData name="Pio Parma" userId="9f05d00a-e537-49d7-8068-10844eaca034" providerId="ADAL" clId="{AE5AB2BB-A16E-4143-8E58-03F5B98A59A3}" dt="2025-06-25T00:41:09.376" v="2037" actId="207"/>
          <ac:spMkLst>
            <pc:docMk/>
            <pc:sldMk cId="2856664986" sldId="2147472509"/>
            <ac:spMk id="41" creationId="{160B8F48-A811-4CFA-9628-0D06BE836957}"/>
          </ac:spMkLst>
        </pc:spChg>
        <pc:spChg chg="del mod">
          <ac:chgData name="Pio Parma" userId="9f05d00a-e537-49d7-8068-10844eaca034" providerId="ADAL" clId="{AE5AB2BB-A16E-4143-8E58-03F5B98A59A3}" dt="2025-06-25T00:51:19.982" v="2200" actId="21"/>
          <ac:spMkLst>
            <pc:docMk/>
            <pc:sldMk cId="2856664986" sldId="2147472509"/>
            <ac:spMk id="42" creationId="{2E1A1860-110B-3825-CBF3-78D9ED639650}"/>
          </ac:spMkLst>
        </pc:spChg>
        <pc:spChg chg="del mod">
          <ac:chgData name="Pio Parma" userId="9f05d00a-e537-49d7-8068-10844eaca034" providerId="ADAL" clId="{AE5AB2BB-A16E-4143-8E58-03F5B98A59A3}" dt="2025-06-25T00:51:19.982" v="2200" actId="21"/>
          <ac:spMkLst>
            <pc:docMk/>
            <pc:sldMk cId="2856664986" sldId="2147472509"/>
            <ac:spMk id="43" creationId="{429EC484-0FC2-1A6B-B85E-16466BF2C5F9}"/>
          </ac:spMkLst>
        </pc:spChg>
      </pc:sldChg>
      <pc:sldChg chg="del">
        <pc:chgData name="Pio Parma" userId="9f05d00a-e537-49d7-8068-10844eaca034" providerId="ADAL" clId="{AE5AB2BB-A16E-4143-8E58-03F5B98A59A3}" dt="2025-06-25T00:01:42.086" v="598" actId="47"/>
        <pc:sldMkLst>
          <pc:docMk/>
          <pc:sldMk cId="1942777628" sldId="2147474620"/>
        </pc:sldMkLst>
      </pc:sldChg>
      <pc:sldChg chg="del">
        <pc:chgData name="Pio Parma" userId="9f05d00a-e537-49d7-8068-10844eaca034" providerId="ADAL" clId="{AE5AB2BB-A16E-4143-8E58-03F5B98A59A3}" dt="2025-06-25T00:01:42.086" v="598" actId="47"/>
        <pc:sldMkLst>
          <pc:docMk/>
          <pc:sldMk cId="3150383220" sldId="2147474644"/>
        </pc:sldMkLst>
      </pc:sldChg>
      <pc:sldChg chg="modSp modNotes">
        <pc:chgData name="Pio Parma" userId="9f05d00a-e537-49d7-8068-10844eaca034" providerId="ADAL" clId="{AE5AB2BB-A16E-4143-8E58-03F5B98A59A3}" dt="2025-06-25T00:49:56.514" v="2182"/>
        <pc:sldMkLst>
          <pc:docMk/>
          <pc:sldMk cId="2955664290" sldId="2147474776"/>
        </pc:sldMkLst>
        <pc:spChg chg="mod">
          <ac:chgData name="Pio Parma" userId="9f05d00a-e537-49d7-8068-10844eaca034" providerId="ADAL" clId="{AE5AB2BB-A16E-4143-8E58-03F5B98A59A3}" dt="2025-06-25T00:49:56.514" v="2182"/>
          <ac:spMkLst>
            <pc:docMk/>
            <pc:sldMk cId="2955664290" sldId="2147474776"/>
            <ac:spMk id="2" creationId="{4C6BF0C8-E2B6-4FFC-56D7-53F932234A34}"/>
          </ac:spMkLst>
        </pc:spChg>
        <pc:spChg chg="mod">
          <ac:chgData name="Pio Parma" userId="9f05d00a-e537-49d7-8068-10844eaca034" providerId="ADAL" clId="{AE5AB2BB-A16E-4143-8E58-03F5B98A59A3}" dt="2025-06-25T00:49:56.514" v="2182"/>
          <ac:spMkLst>
            <pc:docMk/>
            <pc:sldMk cId="2955664290" sldId="2147474776"/>
            <ac:spMk id="4" creationId="{EDC028A8-7FF6-2FDB-3050-2898FA9673B4}"/>
          </ac:spMkLst>
        </pc:spChg>
        <pc:spChg chg="mod">
          <ac:chgData name="Pio Parma" userId="9f05d00a-e537-49d7-8068-10844eaca034" providerId="ADAL" clId="{AE5AB2BB-A16E-4143-8E58-03F5B98A59A3}" dt="2025-06-25T00:49:56.514" v="2182"/>
          <ac:spMkLst>
            <pc:docMk/>
            <pc:sldMk cId="2955664290" sldId="2147474776"/>
            <ac:spMk id="7" creationId="{DD77966F-2C50-AA10-023A-D964ABA41556}"/>
          </ac:spMkLst>
        </pc:spChg>
        <pc:spChg chg="mod">
          <ac:chgData name="Pio Parma" userId="9f05d00a-e537-49d7-8068-10844eaca034" providerId="ADAL" clId="{AE5AB2BB-A16E-4143-8E58-03F5B98A59A3}" dt="2025-06-25T00:49:56.514" v="2182"/>
          <ac:spMkLst>
            <pc:docMk/>
            <pc:sldMk cId="2955664290" sldId="2147474776"/>
            <ac:spMk id="9" creationId="{5600EF0A-6369-0C06-52C3-DF9A182184EA}"/>
          </ac:spMkLst>
        </pc:spChg>
        <pc:spChg chg="mod">
          <ac:chgData name="Pio Parma" userId="9f05d00a-e537-49d7-8068-10844eaca034" providerId="ADAL" clId="{AE5AB2BB-A16E-4143-8E58-03F5B98A59A3}" dt="2025-06-25T00:49:56.514" v="2182"/>
          <ac:spMkLst>
            <pc:docMk/>
            <pc:sldMk cId="2955664290" sldId="2147474776"/>
            <ac:spMk id="10" creationId="{237A5957-1F6B-8DA2-A616-016719109402}"/>
          </ac:spMkLst>
        </pc:spChg>
        <pc:picChg chg="mod">
          <ac:chgData name="Pio Parma" userId="9f05d00a-e537-49d7-8068-10844eaca034" providerId="ADAL" clId="{AE5AB2BB-A16E-4143-8E58-03F5B98A59A3}" dt="2025-06-25T00:49:56.514" v="2182"/>
          <ac:picMkLst>
            <pc:docMk/>
            <pc:sldMk cId="2955664290" sldId="2147474776"/>
            <ac:picMk id="11" creationId="{7B515DD5-0240-73A8-3EA8-26C67959D277}"/>
          </ac:picMkLst>
        </pc:picChg>
      </pc:sldChg>
      <pc:sldChg chg="del">
        <pc:chgData name="Pio Parma" userId="9f05d00a-e537-49d7-8068-10844eaca034" providerId="ADAL" clId="{AE5AB2BB-A16E-4143-8E58-03F5B98A59A3}" dt="2025-06-25T00:01:42.086" v="598" actId="47"/>
        <pc:sldMkLst>
          <pc:docMk/>
          <pc:sldMk cId="2590015044" sldId="2147475332"/>
        </pc:sldMkLst>
      </pc:sldChg>
      <pc:sldChg chg="del">
        <pc:chgData name="Pio Parma" userId="9f05d00a-e537-49d7-8068-10844eaca034" providerId="ADAL" clId="{AE5AB2BB-A16E-4143-8E58-03F5B98A59A3}" dt="2025-06-25T00:01:42.086" v="598" actId="47"/>
        <pc:sldMkLst>
          <pc:docMk/>
          <pc:sldMk cId="2071866452" sldId="2147475334"/>
        </pc:sldMkLst>
      </pc:sldChg>
      <pc:sldChg chg="del">
        <pc:chgData name="Pio Parma" userId="9f05d00a-e537-49d7-8068-10844eaca034" providerId="ADAL" clId="{AE5AB2BB-A16E-4143-8E58-03F5B98A59A3}" dt="2025-06-25T00:01:42.086" v="598" actId="47"/>
        <pc:sldMkLst>
          <pc:docMk/>
          <pc:sldMk cId="2686807615" sldId="2147475342"/>
        </pc:sldMkLst>
      </pc:sldChg>
      <pc:sldChg chg="delSp modSp add mod ord modNotes">
        <pc:chgData name="Pio Parma" userId="9f05d00a-e537-49d7-8068-10844eaca034" providerId="ADAL" clId="{AE5AB2BB-A16E-4143-8E58-03F5B98A59A3}" dt="2025-06-25T00:49:56.514" v="2182"/>
        <pc:sldMkLst>
          <pc:docMk/>
          <pc:sldMk cId="3429992431" sldId="2147475352"/>
        </pc:sldMkLst>
        <pc:spChg chg="mod">
          <ac:chgData name="Pio Parma" userId="9f05d00a-e537-49d7-8068-10844eaca034" providerId="ADAL" clId="{AE5AB2BB-A16E-4143-8E58-03F5B98A59A3}" dt="2025-06-25T00:49:56.514" v="2182"/>
          <ac:spMkLst>
            <pc:docMk/>
            <pc:sldMk cId="3429992431" sldId="2147475352"/>
            <ac:spMk id="2" creationId="{431E6370-DF42-8923-ED95-7BA56D9D0A62}"/>
          </ac:spMkLst>
        </pc:spChg>
        <pc:spChg chg="del">
          <ac:chgData name="Pio Parma" userId="9f05d00a-e537-49d7-8068-10844eaca034" providerId="ADAL" clId="{AE5AB2BB-A16E-4143-8E58-03F5B98A59A3}" dt="2025-06-25T00:00:17.530" v="556" actId="478"/>
          <ac:spMkLst>
            <pc:docMk/>
            <pc:sldMk cId="3429992431" sldId="2147475352"/>
            <ac:spMk id="4" creationId="{A4368F60-307B-3C04-D3D7-09A43C4BD62E}"/>
          </ac:spMkLst>
        </pc:spChg>
        <pc:spChg chg="mod">
          <ac:chgData name="Pio Parma" userId="9f05d00a-e537-49d7-8068-10844eaca034" providerId="ADAL" clId="{AE5AB2BB-A16E-4143-8E58-03F5B98A59A3}" dt="2025-06-25T00:49:56.514" v="2182"/>
          <ac:spMkLst>
            <pc:docMk/>
            <pc:sldMk cId="3429992431" sldId="2147475352"/>
            <ac:spMk id="6" creationId="{080B6954-8B78-36C9-EB36-C2931B0B2638}"/>
          </ac:spMkLst>
        </pc:spChg>
        <pc:spChg chg="mod">
          <ac:chgData name="Pio Parma" userId="9f05d00a-e537-49d7-8068-10844eaca034" providerId="ADAL" clId="{AE5AB2BB-A16E-4143-8E58-03F5B98A59A3}" dt="2025-06-25T00:49:56.514" v="2182"/>
          <ac:spMkLst>
            <pc:docMk/>
            <pc:sldMk cId="3429992431" sldId="2147475352"/>
            <ac:spMk id="7" creationId="{3D70906E-0FC9-B405-9BDE-95C021241C4F}"/>
          </ac:spMkLst>
        </pc:spChg>
        <pc:spChg chg="mod">
          <ac:chgData name="Pio Parma" userId="9f05d00a-e537-49d7-8068-10844eaca034" providerId="ADAL" clId="{AE5AB2BB-A16E-4143-8E58-03F5B98A59A3}" dt="2025-06-25T00:49:56.514" v="2182"/>
          <ac:spMkLst>
            <pc:docMk/>
            <pc:sldMk cId="3429992431" sldId="2147475352"/>
            <ac:spMk id="8" creationId="{E3F33C44-FF4D-74B8-4C8D-C90BD30A9720}"/>
          </ac:spMkLst>
        </pc:spChg>
        <pc:spChg chg="mod">
          <ac:chgData name="Pio Parma" userId="9f05d00a-e537-49d7-8068-10844eaca034" providerId="ADAL" clId="{AE5AB2BB-A16E-4143-8E58-03F5B98A59A3}" dt="2025-06-25T00:49:56.514" v="2182"/>
          <ac:spMkLst>
            <pc:docMk/>
            <pc:sldMk cId="3429992431" sldId="2147475352"/>
            <ac:spMk id="10" creationId="{579DDFF3-A108-582C-AC92-2567E1292E14}"/>
          </ac:spMkLst>
        </pc:spChg>
        <pc:spChg chg="mod">
          <ac:chgData name="Pio Parma" userId="9f05d00a-e537-49d7-8068-10844eaca034" providerId="ADAL" clId="{AE5AB2BB-A16E-4143-8E58-03F5B98A59A3}" dt="2025-06-25T00:49:56.514" v="2182"/>
          <ac:spMkLst>
            <pc:docMk/>
            <pc:sldMk cId="3429992431" sldId="2147475352"/>
            <ac:spMk id="15" creationId="{711D6A84-DBFC-1977-5039-1719B1E90B66}"/>
          </ac:spMkLst>
        </pc:spChg>
        <pc:spChg chg="mod">
          <ac:chgData name="Pio Parma" userId="9f05d00a-e537-49d7-8068-10844eaca034" providerId="ADAL" clId="{AE5AB2BB-A16E-4143-8E58-03F5B98A59A3}" dt="2025-06-25T00:49:56.514" v="2182"/>
          <ac:spMkLst>
            <pc:docMk/>
            <pc:sldMk cId="3429992431" sldId="2147475352"/>
            <ac:spMk id="19" creationId="{AC4954D6-9476-944E-5BA2-23D73C82DBBF}"/>
          </ac:spMkLst>
        </pc:spChg>
        <pc:picChg chg="mod">
          <ac:chgData name="Pio Parma" userId="9f05d00a-e537-49d7-8068-10844eaca034" providerId="ADAL" clId="{AE5AB2BB-A16E-4143-8E58-03F5B98A59A3}" dt="2025-06-25T00:49:56.514" v="2182"/>
          <ac:picMkLst>
            <pc:docMk/>
            <pc:sldMk cId="3429992431" sldId="2147475352"/>
            <ac:picMk id="13" creationId="{30186565-4EFA-4402-8965-530EE798D269}"/>
          </ac:picMkLst>
        </pc:picChg>
        <pc:picChg chg="mod">
          <ac:chgData name="Pio Parma" userId="9f05d00a-e537-49d7-8068-10844eaca034" providerId="ADAL" clId="{AE5AB2BB-A16E-4143-8E58-03F5B98A59A3}" dt="2025-06-25T00:49:56.514" v="2182"/>
          <ac:picMkLst>
            <pc:docMk/>
            <pc:sldMk cId="3429992431" sldId="2147475352"/>
            <ac:picMk id="25" creationId="{BCB2D77C-F8A9-4590-BB09-008E4FE570D3}"/>
          </ac:picMkLst>
        </pc:picChg>
        <pc:picChg chg="mod">
          <ac:chgData name="Pio Parma" userId="9f05d00a-e537-49d7-8068-10844eaca034" providerId="ADAL" clId="{AE5AB2BB-A16E-4143-8E58-03F5B98A59A3}" dt="2025-06-25T00:49:56.514" v="2182"/>
          <ac:picMkLst>
            <pc:docMk/>
            <pc:sldMk cId="3429992431" sldId="2147475352"/>
            <ac:picMk id="1026" creationId="{AF2B192C-87E7-8F3B-FFC0-0B1ED5977242}"/>
          </ac:picMkLst>
        </pc:picChg>
      </pc:sldChg>
      <pc:sldChg chg="addSp delSp modSp add mod ord modNotes modNotesTx">
        <pc:chgData name="Pio Parma" userId="9f05d00a-e537-49d7-8068-10844eaca034" providerId="ADAL" clId="{AE5AB2BB-A16E-4143-8E58-03F5B98A59A3}" dt="2025-06-25T00:51:42.400" v="2207" actId="948"/>
        <pc:sldMkLst>
          <pc:docMk/>
          <pc:sldMk cId="694789957" sldId="2147475362"/>
        </pc:sldMkLst>
        <pc:spChg chg="mod">
          <ac:chgData name="Pio Parma" userId="9f05d00a-e537-49d7-8068-10844eaca034" providerId="ADAL" clId="{AE5AB2BB-A16E-4143-8E58-03F5B98A59A3}" dt="2025-06-25T00:49:56.514" v="2182"/>
          <ac:spMkLst>
            <pc:docMk/>
            <pc:sldMk cId="694789957" sldId="2147475362"/>
            <ac:spMk id="2" creationId="{F045CBEA-8DCE-0328-685F-3F1772F868C4}"/>
          </ac:spMkLst>
        </pc:spChg>
        <pc:spChg chg="del">
          <ac:chgData name="Pio Parma" userId="9f05d00a-e537-49d7-8068-10844eaca034" providerId="ADAL" clId="{AE5AB2BB-A16E-4143-8E58-03F5B98A59A3}" dt="2025-06-24T23:53:48.015" v="378" actId="478"/>
          <ac:spMkLst>
            <pc:docMk/>
            <pc:sldMk cId="694789957" sldId="2147475362"/>
            <ac:spMk id="3" creationId="{46D42DF7-F75B-892C-AE02-C444C956CCCF}"/>
          </ac:spMkLst>
        </pc:spChg>
        <pc:spChg chg="add mod">
          <ac:chgData name="Pio Parma" userId="9f05d00a-e537-49d7-8068-10844eaca034" providerId="ADAL" clId="{AE5AB2BB-A16E-4143-8E58-03F5B98A59A3}" dt="2025-06-25T00:49:56.514" v="2182"/>
          <ac:spMkLst>
            <pc:docMk/>
            <pc:sldMk cId="694789957" sldId="2147475362"/>
            <ac:spMk id="4" creationId="{D12CAFB7-BEA4-5B19-6EFE-850030E86368}"/>
          </ac:spMkLst>
        </pc:spChg>
        <pc:spChg chg="mod">
          <ac:chgData name="Pio Parma" userId="9f05d00a-e537-49d7-8068-10844eaca034" providerId="ADAL" clId="{AE5AB2BB-A16E-4143-8E58-03F5B98A59A3}" dt="2025-06-25T00:49:56.514" v="2182"/>
          <ac:spMkLst>
            <pc:docMk/>
            <pc:sldMk cId="694789957" sldId="2147475362"/>
            <ac:spMk id="5" creationId="{8EC3AAB4-6DD5-B386-2E26-E03B140F3B16}"/>
          </ac:spMkLst>
        </pc:spChg>
        <pc:spChg chg="mod">
          <ac:chgData name="Pio Parma" userId="9f05d00a-e537-49d7-8068-10844eaca034" providerId="ADAL" clId="{AE5AB2BB-A16E-4143-8E58-03F5B98A59A3}" dt="2025-06-25T00:49:56.514" v="2182"/>
          <ac:spMkLst>
            <pc:docMk/>
            <pc:sldMk cId="694789957" sldId="2147475362"/>
            <ac:spMk id="6" creationId="{112A11BF-D974-0F64-8952-AAA0757FA128}"/>
          </ac:spMkLst>
        </pc:spChg>
        <pc:spChg chg="mod">
          <ac:chgData name="Pio Parma" userId="9f05d00a-e537-49d7-8068-10844eaca034" providerId="ADAL" clId="{AE5AB2BB-A16E-4143-8E58-03F5B98A59A3}" dt="2025-06-25T00:49:56.514" v="2182"/>
          <ac:spMkLst>
            <pc:docMk/>
            <pc:sldMk cId="694789957" sldId="2147475362"/>
            <ac:spMk id="7" creationId="{E476E5AF-D33E-035E-5D29-9C595B7CF499}"/>
          </ac:spMkLst>
        </pc:spChg>
        <pc:spChg chg="mod">
          <ac:chgData name="Pio Parma" userId="9f05d00a-e537-49d7-8068-10844eaca034" providerId="ADAL" clId="{AE5AB2BB-A16E-4143-8E58-03F5B98A59A3}" dt="2025-06-25T00:49:56.514" v="2182"/>
          <ac:spMkLst>
            <pc:docMk/>
            <pc:sldMk cId="694789957" sldId="2147475362"/>
            <ac:spMk id="8" creationId="{E5470DEE-BDE7-53B9-9691-BEA1C1602943}"/>
          </ac:spMkLst>
        </pc:spChg>
        <pc:spChg chg="mod">
          <ac:chgData name="Pio Parma" userId="9f05d00a-e537-49d7-8068-10844eaca034" providerId="ADAL" clId="{AE5AB2BB-A16E-4143-8E58-03F5B98A59A3}" dt="2025-06-25T00:49:56.514" v="2182"/>
          <ac:spMkLst>
            <pc:docMk/>
            <pc:sldMk cId="694789957" sldId="2147475362"/>
            <ac:spMk id="9" creationId="{7168BF3B-3A68-5948-761F-9EC950D23D6F}"/>
          </ac:spMkLst>
        </pc:spChg>
        <pc:spChg chg="mod">
          <ac:chgData name="Pio Parma" userId="9f05d00a-e537-49d7-8068-10844eaca034" providerId="ADAL" clId="{AE5AB2BB-A16E-4143-8E58-03F5B98A59A3}" dt="2025-06-25T00:49:56.514" v="2182"/>
          <ac:spMkLst>
            <pc:docMk/>
            <pc:sldMk cId="694789957" sldId="2147475362"/>
            <ac:spMk id="10" creationId="{5D536BF6-92D1-8A2B-FE32-46725A65E263}"/>
          </ac:spMkLst>
        </pc:spChg>
        <pc:spChg chg="mod">
          <ac:chgData name="Pio Parma" userId="9f05d00a-e537-49d7-8068-10844eaca034" providerId="ADAL" clId="{AE5AB2BB-A16E-4143-8E58-03F5B98A59A3}" dt="2025-06-25T00:49:56.514" v="2182"/>
          <ac:spMkLst>
            <pc:docMk/>
            <pc:sldMk cId="694789957" sldId="2147475362"/>
            <ac:spMk id="15" creationId="{9465F277-8EAA-737C-B8E7-63020E22147C}"/>
          </ac:spMkLst>
        </pc:spChg>
        <pc:picChg chg="mod">
          <ac:chgData name="Pio Parma" userId="9f05d00a-e537-49d7-8068-10844eaca034" providerId="ADAL" clId="{AE5AB2BB-A16E-4143-8E58-03F5B98A59A3}" dt="2025-06-24T23:57:30.295" v="476" actId="1035"/>
          <ac:picMkLst>
            <pc:docMk/>
            <pc:sldMk cId="694789957" sldId="2147475362"/>
            <ac:picMk id="2050" creationId="{AFF1F99A-E081-9CCC-9D32-85AD67BB9AAD}"/>
          </ac:picMkLst>
        </pc:picChg>
        <pc:picChg chg="mod">
          <ac:chgData name="Pio Parma" userId="9f05d00a-e537-49d7-8068-10844eaca034" providerId="ADAL" clId="{AE5AB2BB-A16E-4143-8E58-03F5B98A59A3}" dt="2025-06-25T00:49:56.514" v="2182"/>
          <ac:picMkLst>
            <pc:docMk/>
            <pc:sldMk cId="694789957" sldId="2147475362"/>
            <ac:picMk id="2054" creationId="{E67B382B-F038-E88A-99C4-8229CA6B9F4A}"/>
          </ac:picMkLst>
        </pc:picChg>
        <pc:picChg chg="mod">
          <ac:chgData name="Pio Parma" userId="9f05d00a-e537-49d7-8068-10844eaca034" providerId="ADAL" clId="{AE5AB2BB-A16E-4143-8E58-03F5B98A59A3}" dt="2025-06-24T23:57:30.295" v="476" actId="1035"/>
          <ac:picMkLst>
            <pc:docMk/>
            <pc:sldMk cId="694789957" sldId="2147475362"/>
            <ac:picMk id="2056" creationId="{9ADA9BCC-5E1A-FFF3-FF0E-9CFCD0F9C131}"/>
          </ac:picMkLst>
        </pc:picChg>
      </pc:sldChg>
      <pc:sldChg chg="del">
        <pc:chgData name="Pio Parma" userId="9f05d00a-e537-49d7-8068-10844eaca034" providerId="ADAL" clId="{AE5AB2BB-A16E-4143-8E58-03F5B98A59A3}" dt="2025-06-25T00:01:28.780" v="597" actId="47"/>
        <pc:sldMkLst>
          <pc:docMk/>
          <pc:sldMk cId="3650736320" sldId="2147475363"/>
        </pc:sldMkLst>
      </pc:sldChg>
      <pc:sldChg chg="addSp delSp modSp mod modNotes modNotesTx">
        <pc:chgData name="Pio Parma" userId="9f05d00a-e537-49d7-8068-10844eaca034" providerId="ADAL" clId="{AE5AB2BB-A16E-4143-8E58-03F5B98A59A3}" dt="2025-06-25T00:49:56.514" v="2182"/>
        <pc:sldMkLst>
          <pc:docMk/>
          <pc:sldMk cId="2336643285" sldId="2147475379"/>
        </pc:sldMkLst>
        <pc:spChg chg="mod">
          <ac:chgData name="Pio Parma" userId="9f05d00a-e537-49d7-8068-10844eaca034" providerId="ADAL" clId="{AE5AB2BB-A16E-4143-8E58-03F5B98A59A3}" dt="2025-06-25T00:49:56.514" v="2182"/>
          <ac:spMkLst>
            <pc:docMk/>
            <pc:sldMk cId="2336643285" sldId="2147475379"/>
            <ac:spMk id="2" creationId="{3D321A9C-8F68-63C1-1EAF-940171C5D669}"/>
          </ac:spMkLst>
        </pc:spChg>
        <pc:spChg chg="del mod">
          <ac:chgData name="Pio Parma" userId="9f05d00a-e537-49d7-8068-10844eaca034" providerId="ADAL" clId="{AE5AB2BB-A16E-4143-8E58-03F5B98A59A3}" dt="2025-06-25T00:12:01.142" v="755" actId="478"/>
          <ac:spMkLst>
            <pc:docMk/>
            <pc:sldMk cId="2336643285" sldId="2147475379"/>
            <ac:spMk id="3" creationId="{9D910EAB-6BE9-F65B-98BF-1611EB45E0A9}"/>
          </ac:spMkLst>
        </pc:spChg>
        <pc:spChg chg="del mod">
          <ac:chgData name="Pio Parma" userId="9f05d00a-e537-49d7-8068-10844eaca034" providerId="ADAL" clId="{AE5AB2BB-A16E-4143-8E58-03F5B98A59A3}" dt="2025-06-25T00:12:01.142" v="755" actId="478"/>
          <ac:spMkLst>
            <pc:docMk/>
            <pc:sldMk cId="2336643285" sldId="2147475379"/>
            <ac:spMk id="4" creationId="{73E4BBA0-6E20-8893-C71A-D8F56A9D3AAA}"/>
          </ac:spMkLst>
        </pc:spChg>
        <pc:spChg chg="mod">
          <ac:chgData name="Pio Parma" userId="9f05d00a-e537-49d7-8068-10844eaca034" providerId="ADAL" clId="{AE5AB2BB-A16E-4143-8E58-03F5B98A59A3}" dt="2025-06-25T00:49:56.514" v="2182"/>
          <ac:spMkLst>
            <pc:docMk/>
            <pc:sldMk cId="2336643285" sldId="2147475379"/>
            <ac:spMk id="5" creationId="{72DD4013-BDED-6499-4B07-215C29D46B23}"/>
          </ac:spMkLst>
        </pc:spChg>
        <pc:spChg chg="add mod">
          <ac:chgData name="Pio Parma" userId="9f05d00a-e537-49d7-8068-10844eaca034" providerId="ADAL" clId="{AE5AB2BB-A16E-4143-8E58-03F5B98A59A3}" dt="2025-06-25T00:49:56.514" v="2182"/>
          <ac:spMkLst>
            <pc:docMk/>
            <pc:sldMk cId="2336643285" sldId="2147475379"/>
            <ac:spMk id="10" creationId="{EDFC3B7B-1B22-8DCE-AAA1-5AAF432AC051}"/>
          </ac:spMkLst>
        </pc:spChg>
        <pc:spChg chg="add del mod">
          <ac:chgData name="Pio Parma" userId="9f05d00a-e537-49d7-8068-10844eaca034" providerId="ADAL" clId="{AE5AB2BB-A16E-4143-8E58-03F5B98A59A3}" dt="2025-06-25T00:12:03.422" v="756" actId="478"/>
          <ac:spMkLst>
            <pc:docMk/>
            <pc:sldMk cId="2336643285" sldId="2147475379"/>
            <ac:spMk id="12" creationId="{B8EB16C3-72F6-D95E-0180-11415B0D232B}"/>
          </ac:spMkLst>
        </pc:spChg>
        <pc:picChg chg="add del mod">
          <ac:chgData name="Pio Parma" userId="9f05d00a-e537-49d7-8068-10844eaca034" providerId="ADAL" clId="{AE5AB2BB-A16E-4143-8E58-03F5B98A59A3}" dt="2025-06-24T23:42:36.815" v="130" actId="478"/>
          <ac:picMkLst>
            <pc:docMk/>
            <pc:sldMk cId="2336643285" sldId="2147475379"/>
            <ac:picMk id="6" creationId="{3FFAC6F0-8D3C-9108-BDCA-83763220AF0A}"/>
          </ac:picMkLst>
        </pc:picChg>
        <pc:picChg chg="add del mod">
          <ac:chgData name="Pio Parma" userId="9f05d00a-e537-49d7-8068-10844eaca034" providerId="ADAL" clId="{AE5AB2BB-A16E-4143-8E58-03F5B98A59A3}" dt="2025-06-25T00:13:43.397" v="963" actId="478"/>
          <ac:picMkLst>
            <pc:docMk/>
            <pc:sldMk cId="2336643285" sldId="2147475379"/>
            <ac:picMk id="7" creationId="{DCD3AA6E-E4F6-FFC3-F30E-9DB27DFADEE3}"/>
          </ac:picMkLst>
        </pc:picChg>
        <pc:picChg chg="add del mod">
          <ac:chgData name="Pio Parma" userId="9f05d00a-e537-49d7-8068-10844eaca034" providerId="ADAL" clId="{AE5AB2BB-A16E-4143-8E58-03F5B98A59A3}" dt="2025-06-25T00:13:39.497" v="961" actId="478"/>
          <ac:picMkLst>
            <pc:docMk/>
            <pc:sldMk cId="2336643285" sldId="2147475379"/>
            <ac:picMk id="8" creationId="{B685AF4F-31BB-C893-970A-225786FCFC2D}"/>
          </ac:picMkLst>
        </pc:picChg>
        <pc:picChg chg="add del mod">
          <ac:chgData name="Pio Parma" userId="9f05d00a-e537-49d7-8068-10844eaca034" providerId="ADAL" clId="{AE5AB2BB-A16E-4143-8E58-03F5B98A59A3}" dt="2025-06-25T00:13:41.321" v="962" actId="478"/>
          <ac:picMkLst>
            <pc:docMk/>
            <pc:sldMk cId="2336643285" sldId="2147475379"/>
            <ac:picMk id="9" creationId="{CAAD3024-E49C-85EF-648B-9DD86B9F7D20}"/>
          </ac:picMkLst>
        </pc:picChg>
        <pc:picChg chg="del">
          <ac:chgData name="Pio Parma" userId="9f05d00a-e537-49d7-8068-10844eaca034" providerId="ADAL" clId="{AE5AB2BB-A16E-4143-8E58-03F5B98A59A3}" dt="2025-06-24T23:38:19.216" v="44" actId="478"/>
          <ac:picMkLst>
            <pc:docMk/>
            <pc:sldMk cId="2336643285" sldId="2147475379"/>
            <ac:picMk id="1026" creationId="{B6F21E83-5010-F3C7-B5FC-3C9E88E96DBD}"/>
          </ac:picMkLst>
        </pc:picChg>
        <pc:picChg chg="del">
          <ac:chgData name="Pio Parma" userId="9f05d00a-e537-49d7-8068-10844eaca034" providerId="ADAL" clId="{AE5AB2BB-A16E-4143-8E58-03F5B98A59A3}" dt="2025-06-24T23:38:19.216" v="44" actId="478"/>
          <ac:picMkLst>
            <pc:docMk/>
            <pc:sldMk cId="2336643285" sldId="2147475379"/>
            <ac:picMk id="1028" creationId="{CCDCC373-3158-B74F-2E2A-09D5EDAAE621}"/>
          </ac:picMkLst>
        </pc:picChg>
        <pc:picChg chg="del">
          <ac:chgData name="Pio Parma" userId="9f05d00a-e537-49d7-8068-10844eaca034" providerId="ADAL" clId="{AE5AB2BB-A16E-4143-8E58-03F5B98A59A3}" dt="2025-06-24T23:38:19.216" v="44" actId="478"/>
          <ac:picMkLst>
            <pc:docMk/>
            <pc:sldMk cId="2336643285" sldId="2147475379"/>
            <ac:picMk id="1030" creationId="{FEC20BBF-D014-71AD-2C52-EF15362E0505}"/>
          </ac:picMkLst>
        </pc:picChg>
        <pc:picChg chg="del">
          <ac:chgData name="Pio Parma" userId="9f05d00a-e537-49d7-8068-10844eaca034" providerId="ADAL" clId="{AE5AB2BB-A16E-4143-8E58-03F5B98A59A3}" dt="2025-06-24T23:38:19.216" v="44" actId="478"/>
          <ac:picMkLst>
            <pc:docMk/>
            <pc:sldMk cId="2336643285" sldId="2147475379"/>
            <ac:picMk id="1032" creationId="{EF277A2D-82A0-5E3C-A95B-DAEB216E53F0}"/>
          </ac:picMkLst>
        </pc:picChg>
        <pc:picChg chg="add mod">
          <ac:chgData name="Pio Parma" userId="9f05d00a-e537-49d7-8068-10844eaca034" providerId="ADAL" clId="{AE5AB2BB-A16E-4143-8E58-03F5B98A59A3}" dt="2025-06-25T00:49:56.514" v="2182"/>
          <ac:picMkLst>
            <pc:docMk/>
            <pc:sldMk cId="2336643285" sldId="2147475379"/>
            <ac:picMk id="1034" creationId="{202954B8-7D00-8196-6780-C145062B5814}"/>
          </ac:picMkLst>
        </pc:picChg>
        <pc:picChg chg="add del mod">
          <ac:chgData name="Pio Parma" userId="9f05d00a-e537-49d7-8068-10844eaca034" providerId="ADAL" clId="{AE5AB2BB-A16E-4143-8E58-03F5B98A59A3}" dt="2025-06-25T00:20:36.741" v="1109" actId="478"/>
          <ac:picMkLst>
            <pc:docMk/>
            <pc:sldMk cId="2336643285" sldId="2147475379"/>
            <ac:picMk id="1036" creationId="{C48148AA-C7CF-68F9-5629-60CAAE802BC9}"/>
          </ac:picMkLst>
        </pc:picChg>
        <pc:picChg chg="add mod">
          <ac:chgData name="Pio Parma" userId="9f05d00a-e537-49d7-8068-10844eaca034" providerId="ADAL" clId="{AE5AB2BB-A16E-4143-8E58-03F5B98A59A3}" dt="2025-06-25T00:49:56.514" v="2182"/>
          <ac:picMkLst>
            <pc:docMk/>
            <pc:sldMk cId="2336643285" sldId="2147475379"/>
            <ac:picMk id="1038" creationId="{9F823705-1535-7C32-F7E4-3F7F529C0216}"/>
          </ac:picMkLst>
        </pc:picChg>
        <pc:picChg chg="add mod">
          <ac:chgData name="Pio Parma" userId="9f05d00a-e537-49d7-8068-10844eaca034" providerId="ADAL" clId="{AE5AB2BB-A16E-4143-8E58-03F5B98A59A3}" dt="2025-06-25T00:49:56.514" v="2182"/>
          <ac:picMkLst>
            <pc:docMk/>
            <pc:sldMk cId="2336643285" sldId="2147475379"/>
            <ac:picMk id="1040" creationId="{0822E557-F1C2-07A0-430F-EC94A8099A67}"/>
          </ac:picMkLst>
        </pc:picChg>
        <pc:picChg chg="add mod">
          <ac:chgData name="Pio Parma" userId="9f05d00a-e537-49d7-8068-10844eaca034" providerId="ADAL" clId="{AE5AB2BB-A16E-4143-8E58-03F5B98A59A3}" dt="2025-06-25T00:49:56.514" v="2182"/>
          <ac:picMkLst>
            <pc:docMk/>
            <pc:sldMk cId="2336643285" sldId="2147475379"/>
            <ac:picMk id="1042" creationId="{BBBB0E47-9D1D-1AA7-2E34-E0B86BFF32A3}"/>
          </ac:picMkLst>
        </pc:picChg>
      </pc:sldChg>
      <pc:sldChg chg="modSp add del mod">
        <pc:chgData name="Pio Parma" userId="9f05d00a-e537-49d7-8068-10844eaca034" providerId="ADAL" clId="{AE5AB2BB-A16E-4143-8E58-03F5B98A59A3}" dt="2025-06-24T23:45:43.877" v="166" actId="47"/>
        <pc:sldMkLst>
          <pc:docMk/>
          <pc:sldMk cId="827756717" sldId="2147475386"/>
        </pc:sldMkLst>
        <pc:spChg chg="mod">
          <ac:chgData name="Pio Parma" userId="9f05d00a-e537-49d7-8068-10844eaca034" providerId="ADAL" clId="{AE5AB2BB-A16E-4143-8E58-03F5B98A59A3}" dt="2025-06-24T23:37:47.611" v="38" actId="21"/>
          <ac:spMkLst>
            <pc:docMk/>
            <pc:sldMk cId="827756717" sldId="2147475386"/>
            <ac:spMk id="3" creationId="{F9025C9D-85B5-779C-082C-02E27FB0F26C}"/>
          </ac:spMkLst>
        </pc:spChg>
      </pc:sldChg>
      <pc:sldChg chg="modSp add del mod">
        <pc:chgData name="Pio Parma" userId="9f05d00a-e537-49d7-8068-10844eaca034" providerId="ADAL" clId="{AE5AB2BB-A16E-4143-8E58-03F5B98A59A3}" dt="2025-06-24T23:53:16.924" v="374" actId="47"/>
        <pc:sldMkLst>
          <pc:docMk/>
          <pc:sldMk cId="1865781987" sldId="2147475389"/>
        </pc:sldMkLst>
        <pc:spChg chg="mod">
          <ac:chgData name="Pio Parma" userId="9f05d00a-e537-49d7-8068-10844eaca034" providerId="ADAL" clId="{AE5AB2BB-A16E-4143-8E58-03F5B98A59A3}" dt="2025-06-24T23:45:59.694" v="168" actId="21"/>
          <ac:spMkLst>
            <pc:docMk/>
            <pc:sldMk cId="1865781987" sldId="2147475389"/>
            <ac:spMk id="2" creationId="{EC2EA818-1F4F-EFC0-9A58-CECD6E6BF5EF}"/>
          </ac:spMkLst>
        </pc:spChg>
        <pc:spChg chg="mod">
          <ac:chgData name="Pio Parma" userId="9f05d00a-e537-49d7-8068-10844eaca034" providerId="ADAL" clId="{AE5AB2BB-A16E-4143-8E58-03F5B98A59A3}" dt="2025-06-24T23:46:39.306" v="200" actId="21"/>
          <ac:spMkLst>
            <pc:docMk/>
            <pc:sldMk cId="1865781987" sldId="2147475389"/>
            <ac:spMk id="3" creationId="{7EC8A40A-CBDC-957A-47BC-2162B0535F6D}"/>
          </ac:spMkLst>
        </pc:spChg>
      </pc:sldChg>
      <pc:sldChg chg="del">
        <pc:chgData name="Pio Parma" userId="9f05d00a-e537-49d7-8068-10844eaca034" providerId="ADAL" clId="{AE5AB2BB-A16E-4143-8E58-03F5B98A59A3}" dt="2025-06-24T23:33:34.875" v="3" actId="47"/>
        <pc:sldMkLst>
          <pc:docMk/>
          <pc:sldMk cId="2489998306" sldId="2147475390"/>
        </pc:sldMkLst>
      </pc:sldChg>
      <pc:sldChg chg="addSp delSp modSp add mod modNotes modNotesTx">
        <pc:chgData name="Pio Parma" userId="9f05d00a-e537-49d7-8068-10844eaca034" providerId="ADAL" clId="{AE5AB2BB-A16E-4143-8E58-03F5B98A59A3}" dt="2025-06-25T00:49:56.514" v="2182"/>
        <pc:sldMkLst>
          <pc:docMk/>
          <pc:sldMk cId="4243355778" sldId="2147475390"/>
        </pc:sldMkLst>
        <pc:spChg chg="mod">
          <ac:chgData name="Pio Parma" userId="9f05d00a-e537-49d7-8068-10844eaca034" providerId="ADAL" clId="{AE5AB2BB-A16E-4143-8E58-03F5B98A59A3}" dt="2025-06-25T00:49:56.514" v="2182"/>
          <ac:spMkLst>
            <pc:docMk/>
            <pc:sldMk cId="4243355778" sldId="2147475390"/>
            <ac:spMk id="2" creationId="{8E51256A-6036-CFA9-72A1-E59C25C06027}"/>
          </ac:spMkLst>
        </pc:spChg>
        <pc:spChg chg="mod">
          <ac:chgData name="Pio Parma" userId="9f05d00a-e537-49d7-8068-10844eaca034" providerId="ADAL" clId="{AE5AB2BB-A16E-4143-8E58-03F5B98A59A3}" dt="2025-06-25T00:49:56.514" v="2182"/>
          <ac:spMkLst>
            <pc:docMk/>
            <pc:sldMk cId="4243355778" sldId="2147475390"/>
            <ac:spMk id="3" creationId="{45C910ED-CA32-F978-CA53-C3066D838993}"/>
          </ac:spMkLst>
        </pc:spChg>
        <pc:spChg chg="mod">
          <ac:chgData name="Pio Parma" userId="9f05d00a-e537-49d7-8068-10844eaca034" providerId="ADAL" clId="{AE5AB2BB-A16E-4143-8E58-03F5B98A59A3}" dt="2025-06-25T00:49:56.514" v="2182"/>
          <ac:spMkLst>
            <pc:docMk/>
            <pc:sldMk cId="4243355778" sldId="2147475390"/>
            <ac:spMk id="4" creationId="{D4015C74-B323-C2B1-7BE8-DF0D41D97E5D}"/>
          </ac:spMkLst>
        </pc:spChg>
        <pc:spChg chg="mod">
          <ac:chgData name="Pio Parma" userId="9f05d00a-e537-49d7-8068-10844eaca034" providerId="ADAL" clId="{AE5AB2BB-A16E-4143-8E58-03F5B98A59A3}" dt="2025-06-25T00:49:56.514" v="2182"/>
          <ac:spMkLst>
            <pc:docMk/>
            <pc:sldMk cId="4243355778" sldId="2147475390"/>
            <ac:spMk id="5" creationId="{DE1F8BE0-15B2-2215-D93F-37E2906180B4}"/>
          </ac:spMkLst>
        </pc:spChg>
        <pc:picChg chg="del">
          <ac:chgData name="Pio Parma" userId="9f05d00a-e537-49d7-8068-10844eaca034" providerId="ADAL" clId="{AE5AB2BB-A16E-4143-8E58-03F5B98A59A3}" dt="2025-06-24T23:48:09.027" v="328" actId="478"/>
          <ac:picMkLst>
            <pc:docMk/>
            <pc:sldMk cId="4243355778" sldId="2147475390"/>
            <ac:picMk id="7" creationId="{D918B56A-8C42-D705-A150-26E9D3714AE8}"/>
          </ac:picMkLst>
        </pc:picChg>
        <pc:picChg chg="del">
          <ac:chgData name="Pio Parma" userId="9f05d00a-e537-49d7-8068-10844eaca034" providerId="ADAL" clId="{AE5AB2BB-A16E-4143-8E58-03F5B98A59A3}" dt="2025-06-24T23:48:09.027" v="328" actId="478"/>
          <ac:picMkLst>
            <pc:docMk/>
            <pc:sldMk cId="4243355778" sldId="2147475390"/>
            <ac:picMk id="8" creationId="{0C3B1D73-B77A-322F-1D76-F991A0B2C805}"/>
          </ac:picMkLst>
        </pc:picChg>
        <pc:picChg chg="del">
          <ac:chgData name="Pio Parma" userId="9f05d00a-e537-49d7-8068-10844eaca034" providerId="ADAL" clId="{AE5AB2BB-A16E-4143-8E58-03F5B98A59A3}" dt="2025-06-24T23:48:09.027" v="328" actId="478"/>
          <ac:picMkLst>
            <pc:docMk/>
            <pc:sldMk cId="4243355778" sldId="2147475390"/>
            <ac:picMk id="9" creationId="{704D0FB8-6529-5C57-B832-25EB4DBD5EB5}"/>
          </ac:picMkLst>
        </pc:picChg>
        <pc:picChg chg="add mod">
          <ac:chgData name="Pio Parma" userId="9f05d00a-e537-49d7-8068-10844eaca034" providerId="ADAL" clId="{AE5AB2BB-A16E-4143-8E58-03F5B98A59A3}" dt="2025-06-25T00:49:56.514" v="2182"/>
          <ac:picMkLst>
            <pc:docMk/>
            <pc:sldMk cId="4243355778" sldId="2147475390"/>
            <ac:picMk id="2050" creationId="{4ADB6BF3-1DD7-0D4E-F2CE-A2EA6A3A888D}"/>
          </ac:picMkLst>
        </pc:picChg>
        <pc:picChg chg="add mod">
          <ac:chgData name="Pio Parma" userId="9f05d00a-e537-49d7-8068-10844eaca034" providerId="ADAL" clId="{AE5AB2BB-A16E-4143-8E58-03F5B98A59A3}" dt="2025-06-25T00:49:56.514" v="2182"/>
          <ac:picMkLst>
            <pc:docMk/>
            <pc:sldMk cId="4243355778" sldId="2147475390"/>
            <ac:picMk id="2052" creationId="{5F934889-D8B5-2923-2774-28690C1C1685}"/>
          </ac:picMkLst>
        </pc:picChg>
        <pc:picChg chg="add mod">
          <ac:chgData name="Pio Parma" userId="9f05d00a-e537-49d7-8068-10844eaca034" providerId="ADAL" clId="{AE5AB2BB-A16E-4143-8E58-03F5B98A59A3}" dt="2025-06-25T00:49:56.514" v="2182"/>
          <ac:picMkLst>
            <pc:docMk/>
            <pc:sldMk cId="4243355778" sldId="2147475390"/>
            <ac:picMk id="2054" creationId="{328D9520-67D0-6A1B-CE6F-8FD4065D5BE2}"/>
          </ac:picMkLst>
        </pc:picChg>
      </pc:sldChg>
      <pc:sldChg chg="addSp delSp modSp add mod modNotes modNotesTx">
        <pc:chgData name="Pio Parma" userId="9f05d00a-e537-49d7-8068-10844eaca034" providerId="ADAL" clId="{AE5AB2BB-A16E-4143-8E58-03F5B98A59A3}" dt="2025-06-25T00:49:56.514" v="2182"/>
        <pc:sldMkLst>
          <pc:docMk/>
          <pc:sldMk cId="3265825546" sldId="2147475391"/>
        </pc:sldMkLst>
        <pc:spChg chg="mod">
          <ac:chgData name="Pio Parma" userId="9f05d00a-e537-49d7-8068-10844eaca034" providerId="ADAL" clId="{AE5AB2BB-A16E-4143-8E58-03F5B98A59A3}" dt="2025-06-25T00:49:56.514" v="2182"/>
          <ac:spMkLst>
            <pc:docMk/>
            <pc:sldMk cId="3265825546" sldId="2147475391"/>
            <ac:spMk id="2" creationId="{9A9325ED-6210-B715-F64C-B98DA1C1B7EC}"/>
          </ac:spMkLst>
        </pc:spChg>
        <pc:spChg chg="mod">
          <ac:chgData name="Pio Parma" userId="9f05d00a-e537-49d7-8068-10844eaca034" providerId="ADAL" clId="{AE5AB2BB-A16E-4143-8E58-03F5B98A59A3}" dt="2025-06-25T00:49:56.514" v="2182"/>
          <ac:spMkLst>
            <pc:docMk/>
            <pc:sldMk cId="3265825546" sldId="2147475391"/>
            <ac:spMk id="3" creationId="{3996A5B4-21BA-BEA0-A02D-BD76903575EE}"/>
          </ac:spMkLst>
        </pc:spChg>
        <pc:spChg chg="mod">
          <ac:chgData name="Pio Parma" userId="9f05d00a-e537-49d7-8068-10844eaca034" providerId="ADAL" clId="{AE5AB2BB-A16E-4143-8E58-03F5B98A59A3}" dt="2025-06-25T00:49:56.514" v="2182"/>
          <ac:spMkLst>
            <pc:docMk/>
            <pc:sldMk cId="3265825546" sldId="2147475391"/>
            <ac:spMk id="4" creationId="{296213AC-C37D-882B-A338-8F4FE6D01CEA}"/>
          </ac:spMkLst>
        </pc:spChg>
        <pc:spChg chg="mod">
          <ac:chgData name="Pio Parma" userId="9f05d00a-e537-49d7-8068-10844eaca034" providerId="ADAL" clId="{AE5AB2BB-A16E-4143-8E58-03F5B98A59A3}" dt="2025-06-25T00:49:56.514" v="2182"/>
          <ac:spMkLst>
            <pc:docMk/>
            <pc:sldMk cId="3265825546" sldId="2147475391"/>
            <ac:spMk id="5" creationId="{6416632C-2209-1768-4738-206C2A522469}"/>
          </ac:spMkLst>
        </pc:spChg>
        <pc:picChg chg="del">
          <ac:chgData name="Pio Parma" userId="9f05d00a-e537-49d7-8068-10844eaca034" providerId="ADAL" clId="{AE5AB2BB-A16E-4143-8E58-03F5B98A59A3}" dt="2025-06-25T00:02:26.720" v="609" actId="478"/>
          <ac:picMkLst>
            <pc:docMk/>
            <pc:sldMk cId="3265825546" sldId="2147475391"/>
            <ac:picMk id="2050" creationId="{4F09064B-42F7-27AD-D360-67700FA3845F}"/>
          </ac:picMkLst>
        </pc:picChg>
        <pc:picChg chg="del">
          <ac:chgData name="Pio Parma" userId="9f05d00a-e537-49d7-8068-10844eaca034" providerId="ADAL" clId="{AE5AB2BB-A16E-4143-8E58-03F5B98A59A3}" dt="2025-06-25T00:02:26.720" v="609" actId="478"/>
          <ac:picMkLst>
            <pc:docMk/>
            <pc:sldMk cId="3265825546" sldId="2147475391"/>
            <ac:picMk id="2052" creationId="{BD7E3EA1-3200-11FB-748B-D3C1C2CC80EC}"/>
          </ac:picMkLst>
        </pc:picChg>
        <pc:picChg chg="del">
          <ac:chgData name="Pio Parma" userId="9f05d00a-e537-49d7-8068-10844eaca034" providerId="ADAL" clId="{AE5AB2BB-A16E-4143-8E58-03F5B98A59A3}" dt="2025-06-25T00:02:26.720" v="609" actId="478"/>
          <ac:picMkLst>
            <pc:docMk/>
            <pc:sldMk cId="3265825546" sldId="2147475391"/>
            <ac:picMk id="2054" creationId="{89C02190-42CB-924D-2A4F-25EF4723A48F}"/>
          </ac:picMkLst>
        </pc:picChg>
        <pc:picChg chg="add mod">
          <ac:chgData name="Pio Parma" userId="9f05d00a-e537-49d7-8068-10844eaca034" providerId="ADAL" clId="{AE5AB2BB-A16E-4143-8E58-03F5B98A59A3}" dt="2025-06-25T00:49:56.514" v="2182"/>
          <ac:picMkLst>
            <pc:docMk/>
            <pc:sldMk cId="3265825546" sldId="2147475391"/>
            <ac:picMk id="3074" creationId="{9E51AAA0-9CAA-CB16-0FA9-E2B846F02CD1}"/>
          </ac:picMkLst>
        </pc:picChg>
        <pc:picChg chg="add mod">
          <ac:chgData name="Pio Parma" userId="9f05d00a-e537-49d7-8068-10844eaca034" providerId="ADAL" clId="{AE5AB2BB-A16E-4143-8E58-03F5B98A59A3}" dt="2025-06-25T00:49:56.514" v="2182"/>
          <ac:picMkLst>
            <pc:docMk/>
            <pc:sldMk cId="3265825546" sldId="2147475391"/>
            <ac:picMk id="3076" creationId="{9ED06D0B-C960-1770-3F3E-1A5FAC0F90E2}"/>
          </ac:picMkLst>
        </pc:picChg>
      </pc:sldChg>
      <pc:sldChg chg="modSp add mod modNotes">
        <pc:chgData name="Pio Parma" userId="9f05d00a-e537-49d7-8068-10844eaca034" providerId="ADAL" clId="{AE5AB2BB-A16E-4143-8E58-03F5B98A59A3}" dt="2025-06-25T00:49:56.514" v="2182"/>
        <pc:sldMkLst>
          <pc:docMk/>
          <pc:sldMk cId="1788266310" sldId="2147475392"/>
        </pc:sldMkLst>
        <pc:spChg chg="mod">
          <ac:chgData name="Pio Parma" userId="9f05d00a-e537-49d7-8068-10844eaca034" providerId="ADAL" clId="{AE5AB2BB-A16E-4143-8E58-03F5B98A59A3}" dt="2025-06-25T00:49:56.514" v="2182"/>
          <ac:spMkLst>
            <pc:docMk/>
            <pc:sldMk cId="1788266310" sldId="2147475392"/>
            <ac:spMk id="2" creationId="{DFCD33F6-D225-1BD2-FA3D-35E1D6722F7D}"/>
          </ac:spMkLst>
        </pc:spChg>
        <pc:spChg chg="mod">
          <ac:chgData name="Pio Parma" userId="9f05d00a-e537-49d7-8068-10844eaca034" providerId="ADAL" clId="{AE5AB2BB-A16E-4143-8E58-03F5B98A59A3}" dt="2025-06-25T00:49:56.514" v="2182"/>
          <ac:spMkLst>
            <pc:docMk/>
            <pc:sldMk cId="1788266310" sldId="2147475392"/>
            <ac:spMk id="3" creationId="{613F232E-9195-7EF1-B2F3-3D79DA9349BD}"/>
          </ac:spMkLst>
        </pc:spChg>
        <pc:spChg chg="mod">
          <ac:chgData name="Pio Parma" userId="9f05d00a-e537-49d7-8068-10844eaca034" providerId="ADAL" clId="{AE5AB2BB-A16E-4143-8E58-03F5B98A59A3}" dt="2025-06-25T00:49:56.514" v="2182"/>
          <ac:spMkLst>
            <pc:docMk/>
            <pc:sldMk cId="1788266310" sldId="2147475392"/>
            <ac:spMk id="4" creationId="{6173ACD3-232B-4E1F-8107-1B44B42D6A92}"/>
          </ac:spMkLst>
        </pc:spChg>
        <pc:spChg chg="mod">
          <ac:chgData name="Pio Parma" userId="9f05d00a-e537-49d7-8068-10844eaca034" providerId="ADAL" clId="{AE5AB2BB-A16E-4143-8E58-03F5B98A59A3}" dt="2025-06-25T00:49:56.514" v="2182"/>
          <ac:spMkLst>
            <pc:docMk/>
            <pc:sldMk cId="1788266310" sldId="2147475392"/>
            <ac:spMk id="5" creationId="{F19E157B-F10F-A950-186F-E2723DF3E4ED}"/>
          </ac:spMkLst>
        </pc:spChg>
        <pc:picChg chg="mod">
          <ac:chgData name="Pio Parma" userId="9f05d00a-e537-49d7-8068-10844eaca034" providerId="ADAL" clId="{AE5AB2BB-A16E-4143-8E58-03F5B98A59A3}" dt="2025-06-25T00:49:56.514" v="2182"/>
          <ac:picMkLst>
            <pc:docMk/>
            <pc:sldMk cId="1788266310" sldId="2147475392"/>
            <ac:picMk id="7" creationId="{DE8BAF00-B10A-142C-9D62-62BB3CDE3C55}"/>
          </ac:picMkLst>
        </pc:picChg>
        <pc:picChg chg="mod">
          <ac:chgData name="Pio Parma" userId="9f05d00a-e537-49d7-8068-10844eaca034" providerId="ADAL" clId="{AE5AB2BB-A16E-4143-8E58-03F5B98A59A3}" dt="2025-06-25T00:49:56.514" v="2182"/>
          <ac:picMkLst>
            <pc:docMk/>
            <pc:sldMk cId="1788266310" sldId="2147475392"/>
            <ac:picMk id="8" creationId="{92FFCF83-8B53-2511-C18F-AFCE9261CFAA}"/>
          </ac:picMkLst>
        </pc:picChg>
        <pc:picChg chg="mod">
          <ac:chgData name="Pio Parma" userId="9f05d00a-e537-49d7-8068-10844eaca034" providerId="ADAL" clId="{AE5AB2BB-A16E-4143-8E58-03F5B98A59A3}" dt="2025-06-25T00:49:56.514" v="2182"/>
          <ac:picMkLst>
            <pc:docMk/>
            <pc:sldMk cId="1788266310" sldId="2147475392"/>
            <ac:picMk id="9" creationId="{2DDECCCD-4CB1-FB5C-3A53-31DD6C711E04}"/>
          </ac:picMkLst>
        </pc:picChg>
      </pc:sldChg>
      <pc:sldChg chg="new del">
        <pc:chgData name="Pio Parma" userId="9f05d00a-e537-49d7-8068-10844eaca034" providerId="ADAL" clId="{AE5AB2BB-A16E-4143-8E58-03F5B98A59A3}" dt="2025-06-25T00:11:35.403" v="750" actId="47"/>
        <pc:sldMkLst>
          <pc:docMk/>
          <pc:sldMk cId="3797899568" sldId="2147475392"/>
        </pc:sldMkLst>
      </pc:sldChg>
      <pc:sldChg chg="new del">
        <pc:chgData name="Pio Parma" userId="9f05d00a-e537-49d7-8068-10844eaca034" providerId="ADAL" clId="{AE5AB2BB-A16E-4143-8E58-03F5B98A59A3}" dt="2025-06-25T00:11:44.016" v="751" actId="47"/>
        <pc:sldMkLst>
          <pc:docMk/>
          <pc:sldMk cId="2690434720" sldId="2147475393"/>
        </pc:sldMkLst>
      </pc:sldChg>
      <pc:sldChg chg="addSp delSp modSp add mod ord modNotes modNotesTx">
        <pc:chgData name="Pio Parma" userId="9f05d00a-e537-49d7-8068-10844eaca034" providerId="ADAL" clId="{AE5AB2BB-A16E-4143-8E58-03F5B98A59A3}" dt="2025-06-25T00:52:42.164" v="2220" actId="948"/>
        <pc:sldMkLst>
          <pc:docMk/>
          <pc:sldMk cId="3693009820" sldId="2147475393"/>
        </pc:sldMkLst>
        <pc:spChg chg="mod">
          <ac:chgData name="Pio Parma" userId="9f05d00a-e537-49d7-8068-10844eaca034" providerId="ADAL" clId="{AE5AB2BB-A16E-4143-8E58-03F5B98A59A3}" dt="2025-06-25T00:49:56.514" v="2182"/>
          <ac:spMkLst>
            <pc:docMk/>
            <pc:sldMk cId="3693009820" sldId="2147475393"/>
            <ac:spMk id="2" creationId="{1F66A065-9DBB-7C09-2DE7-1D5ECC535029}"/>
          </ac:spMkLst>
        </pc:spChg>
        <pc:spChg chg="add mod">
          <ac:chgData name="Pio Parma" userId="9f05d00a-e537-49d7-8068-10844eaca034" providerId="ADAL" clId="{AE5AB2BB-A16E-4143-8E58-03F5B98A59A3}" dt="2025-06-25T00:49:56.514" v="2182"/>
          <ac:spMkLst>
            <pc:docMk/>
            <pc:sldMk cId="3693009820" sldId="2147475393"/>
            <ac:spMk id="4" creationId="{B07839AF-F999-C45B-D549-4B96A6FEF1DA}"/>
          </ac:spMkLst>
        </pc:spChg>
        <pc:spChg chg="mod">
          <ac:chgData name="Pio Parma" userId="9f05d00a-e537-49d7-8068-10844eaca034" providerId="ADAL" clId="{AE5AB2BB-A16E-4143-8E58-03F5B98A59A3}" dt="2025-06-25T00:49:56.514" v="2182"/>
          <ac:spMkLst>
            <pc:docMk/>
            <pc:sldMk cId="3693009820" sldId="2147475393"/>
            <ac:spMk id="5" creationId="{59E506C9-4E4A-9A92-0B95-C4E57DBE3DBD}"/>
          </ac:spMkLst>
        </pc:spChg>
        <pc:spChg chg="add mod">
          <ac:chgData name="Pio Parma" userId="9f05d00a-e537-49d7-8068-10844eaca034" providerId="ADAL" clId="{AE5AB2BB-A16E-4143-8E58-03F5B98A59A3}" dt="2025-06-25T00:49:56.514" v="2182"/>
          <ac:spMkLst>
            <pc:docMk/>
            <pc:sldMk cId="3693009820" sldId="2147475393"/>
            <ac:spMk id="6" creationId="{93DA94D6-9D63-B27E-7B2A-629CB5A7F671}"/>
          </ac:spMkLst>
        </pc:spChg>
        <pc:spChg chg="add mod">
          <ac:chgData name="Pio Parma" userId="9f05d00a-e537-49d7-8068-10844eaca034" providerId="ADAL" clId="{AE5AB2BB-A16E-4143-8E58-03F5B98A59A3}" dt="2025-06-25T00:49:56.514" v="2182"/>
          <ac:spMkLst>
            <pc:docMk/>
            <pc:sldMk cId="3693009820" sldId="2147475393"/>
            <ac:spMk id="7" creationId="{85FA88EA-8B33-2756-D3C8-98A089D6928C}"/>
          </ac:spMkLst>
        </pc:spChg>
        <pc:spChg chg="add del mod">
          <ac:chgData name="Pio Parma" userId="9f05d00a-e537-49d7-8068-10844eaca034" providerId="ADAL" clId="{AE5AB2BB-A16E-4143-8E58-03F5B98A59A3}" dt="2025-06-25T00:31:09.563" v="1440" actId="478"/>
          <ac:spMkLst>
            <pc:docMk/>
            <pc:sldMk cId="3693009820" sldId="2147475393"/>
            <ac:spMk id="9" creationId="{AA75ED1F-CF63-E1C7-679A-739A1BA3F037}"/>
          </ac:spMkLst>
        </pc:spChg>
        <pc:spChg chg="mod">
          <ac:chgData name="Pio Parma" userId="9f05d00a-e537-49d7-8068-10844eaca034" providerId="ADAL" clId="{AE5AB2BB-A16E-4143-8E58-03F5B98A59A3}" dt="2025-06-25T00:49:56.514" v="2182"/>
          <ac:spMkLst>
            <pc:docMk/>
            <pc:sldMk cId="3693009820" sldId="2147475393"/>
            <ac:spMk id="10" creationId="{7B2EBA9D-5056-0710-8662-A08B23BEDA08}"/>
          </ac:spMkLst>
        </pc:spChg>
        <pc:spChg chg="add mod">
          <ac:chgData name="Pio Parma" userId="9f05d00a-e537-49d7-8068-10844eaca034" providerId="ADAL" clId="{AE5AB2BB-A16E-4143-8E58-03F5B98A59A3}" dt="2025-06-25T00:49:56.514" v="2182"/>
          <ac:spMkLst>
            <pc:docMk/>
            <pc:sldMk cId="3693009820" sldId="2147475393"/>
            <ac:spMk id="11" creationId="{035F0AA7-475B-EEE5-3165-86B913CF3808}"/>
          </ac:spMkLst>
        </pc:spChg>
        <pc:spChg chg="add mod">
          <ac:chgData name="Pio Parma" userId="9f05d00a-e537-49d7-8068-10844eaca034" providerId="ADAL" clId="{AE5AB2BB-A16E-4143-8E58-03F5B98A59A3}" dt="2025-06-25T00:49:56.514" v="2182"/>
          <ac:spMkLst>
            <pc:docMk/>
            <pc:sldMk cId="3693009820" sldId="2147475393"/>
            <ac:spMk id="13" creationId="{6440C891-9E70-18FC-838C-93058AB706C2}"/>
          </ac:spMkLst>
        </pc:spChg>
        <pc:spChg chg="mod">
          <ac:chgData name="Pio Parma" userId="9f05d00a-e537-49d7-8068-10844eaca034" providerId="ADAL" clId="{AE5AB2BB-A16E-4143-8E58-03F5B98A59A3}" dt="2025-06-25T00:49:56.514" v="2182"/>
          <ac:spMkLst>
            <pc:docMk/>
            <pc:sldMk cId="3693009820" sldId="2147475393"/>
            <ac:spMk id="15" creationId="{E35D0CF0-3029-69E3-96CE-32956C5B14A7}"/>
          </ac:spMkLst>
        </pc:spChg>
        <pc:spChg chg="mod">
          <ac:chgData name="Pio Parma" userId="9f05d00a-e537-49d7-8068-10844eaca034" providerId="ADAL" clId="{AE5AB2BB-A16E-4143-8E58-03F5B98A59A3}" dt="2025-06-25T00:49:56.514" v="2182"/>
          <ac:spMkLst>
            <pc:docMk/>
            <pc:sldMk cId="3693009820" sldId="2147475393"/>
            <ac:spMk id="16" creationId="{DF3B34F2-C3F8-68FA-FD05-285650EF3E3D}"/>
          </ac:spMkLst>
        </pc:spChg>
        <pc:grpChg chg="add mod">
          <ac:chgData name="Pio Parma" userId="9f05d00a-e537-49d7-8068-10844eaca034" providerId="ADAL" clId="{AE5AB2BB-A16E-4143-8E58-03F5B98A59A3}" dt="2025-06-25T00:42:46.684" v="2041"/>
          <ac:grpSpMkLst>
            <pc:docMk/>
            <pc:sldMk cId="3693009820" sldId="2147475393"/>
            <ac:grpSpMk id="14" creationId="{0EAA5261-DED8-54F4-FFEB-6D29297CE1ED}"/>
          </ac:grpSpMkLst>
        </pc:grpChg>
        <pc:picChg chg="del">
          <ac:chgData name="Pio Parma" userId="9f05d00a-e537-49d7-8068-10844eaca034" providerId="ADAL" clId="{AE5AB2BB-A16E-4143-8E58-03F5B98A59A3}" dt="2025-06-25T00:26:23.164" v="1227" actId="478"/>
          <ac:picMkLst>
            <pc:docMk/>
            <pc:sldMk cId="3693009820" sldId="2147475393"/>
            <ac:picMk id="1034" creationId="{476E878F-19E8-36E3-C3A0-5556CF6F39A8}"/>
          </ac:picMkLst>
        </pc:picChg>
        <pc:picChg chg="del">
          <ac:chgData name="Pio Parma" userId="9f05d00a-e537-49d7-8068-10844eaca034" providerId="ADAL" clId="{AE5AB2BB-A16E-4143-8E58-03F5B98A59A3}" dt="2025-06-25T00:26:23.164" v="1227" actId="478"/>
          <ac:picMkLst>
            <pc:docMk/>
            <pc:sldMk cId="3693009820" sldId="2147475393"/>
            <ac:picMk id="1038" creationId="{F550D4D5-F4DB-1A60-63C0-AEB5A139EA69}"/>
          </ac:picMkLst>
        </pc:picChg>
        <pc:picChg chg="del">
          <ac:chgData name="Pio Parma" userId="9f05d00a-e537-49d7-8068-10844eaca034" providerId="ADAL" clId="{AE5AB2BB-A16E-4143-8E58-03F5B98A59A3}" dt="2025-06-25T00:26:23.164" v="1227" actId="478"/>
          <ac:picMkLst>
            <pc:docMk/>
            <pc:sldMk cId="3693009820" sldId="2147475393"/>
            <ac:picMk id="1040" creationId="{4E794CAF-5C8A-DF1C-559F-7074B99BB068}"/>
          </ac:picMkLst>
        </pc:picChg>
        <pc:picChg chg="del">
          <ac:chgData name="Pio Parma" userId="9f05d00a-e537-49d7-8068-10844eaca034" providerId="ADAL" clId="{AE5AB2BB-A16E-4143-8E58-03F5B98A59A3}" dt="2025-06-25T00:26:23.164" v="1227" actId="478"/>
          <ac:picMkLst>
            <pc:docMk/>
            <pc:sldMk cId="3693009820" sldId="2147475393"/>
            <ac:picMk id="1042" creationId="{870E59A8-DFD2-5137-86BB-C21650EDBA84}"/>
          </ac:picMkLst>
        </pc:picChg>
      </pc:sldChg>
      <pc:sldChg chg="addSp delSp modSp add mod modNotes">
        <pc:chgData name="Pio Parma" userId="9f05d00a-e537-49d7-8068-10844eaca034" providerId="ADAL" clId="{AE5AB2BB-A16E-4143-8E58-03F5B98A59A3}" dt="2025-06-25T00:51:51.072" v="2208" actId="20577"/>
        <pc:sldMkLst>
          <pc:docMk/>
          <pc:sldMk cId="430455016" sldId="2147475394"/>
        </pc:sldMkLst>
        <pc:spChg chg="mod">
          <ac:chgData name="Pio Parma" userId="9f05d00a-e537-49d7-8068-10844eaca034" providerId="ADAL" clId="{AE5AB2BB-A16E-4143-8E58-03F5B98A59A3}" dt="2025-06-25T00:50:30.349" v="2185"/>
          <ac:spMkLst>
            <pc:docMk/>
            <pc:sldMk cId="430455016" sldId="2147475394"/>
            <ac:spMk id="2" creationId="{9B336CB3-5B7B-83AF-D0FF-4ADEAD72C249}"/>
          </ac:spMkLst>
        </pc:spChg>
        <pc:spChg chg="del">
          <ac:chgData name="Pio Parma" userId="9f05d00a-e537-49d7-8068-10844eaca034" providerId="ADAL" clId="{AE5AB2BB-A16E-4143-8E58-03F5B98A59A3}" dt="2025-06-25T00:50:41.679" v="2188" actId="478"/>
          <ac:spMkLst>
            <pc:docMk/>
            <pc:sldMk cId="430455016" sldId="2147475394"/>
            <ac:spMk id="3" creationId="{385F65BD-A35C-8ECC-D233-F20D78FB649E}"/>
          </ac:spMkLst>
        </pc:spChg>
        <pc:spChg chg="del">
          <ac:chgData name="Pio Parma" userId="9f05d00a-e537-49d7-8068-10844eaca034" providerId="ADAL" clId="{AE5AB2BB-A16E-4143-8E58-03F5B98A59A3}" dt="2025-06-25T00:50:41.679" v="2188" actId="478"/>
          <ac:spMkLst>
            <pc:docMk/>
            <pc:sldMk cId="430455016" sldId="2147475394"/>
            <ac:spMk id="4" creationId="{4D724F13-7D1E-83A9-E5B0-F1E8D15AD3E1}"/>
          </ac:spMkLst>
        </pc:spChg>
        <pc:spChg chg="del">
          <ac:chgData name="Pio Parma" userId="9f05d00a-e537-49d7-8068-10844eaca034" providerId="ADAL" clId="{AE5AB2BB-A16E-4143-8E58-03F5B98A59A3}" dt="2025-06-25T00:50:41.679" v="2188" actId="478"/>
          <ac:spMkLst>
            <pc:docMk/>
            <pc:sldMk cId="430455016" sldId="2147475394"/>
            <ac:spMk id="5" creationId="{B257582E-06F8-CCF1-A6D4-0312645947C1}"/>
          </ac:spMkLst>
        </pc:spChg>
        <pc:spChg chg="add del mod">
          <ac:chgData name="Pio Parma" userId="9f05d00a-e537-49d7-8068-10844eaca034" providerId="ADAL" clId="{AE5AB2BB-A16E-4143-8E58-03F5B98A59A3}" dt="2025-06-25T00:50:44.718" v="2189" actId="478"/>
          <ac:spMkLst>
            <pc:docMk/>
            <pc:sldMk cId="430455016" sldId="2147475394"/>
            <ac:spMk id="6" creationId="{43F8F535-31C6-12D9-2C54-280E8F05D4B5}"/>
          </ac:spMkLst>
        </pc:spChg>
        <pc:spChg chg="add del mod">
          <ac:chgData name="Pio Parma" userId="9f05d00a-e537-49d7-8068-10844eaca034" providerId="ADAL" clId="{AE5AB2BB-A16E-4143-8E58-03F5B98A59A3}" dt="2025-06-25T00:50:44.718" v="2189" actId="478"/>
          <ac:spMkLst>
            <pc:docMk/>
            <pc:sldMk cId="430455016" sldId="2147475394"/>
            <ac:spMk id="10" creationId="{CCD7C983-912A-4164-B602-A7AE219197CD}"/>
          </ac:spMkLst>
        </pc:spChg>
        <pc:spChg chg="add mod">
          <ac:chgData name="Pio Parma" userId="9f05d00a-e537-49d7-8068-10844eaca034" providerId="ADAL" clId="{AE5AB2BB-A16E-4143-8E58-03F5B98A59A3}" dt="2025-06-25T00:50:45.312" v="2190"/>
          <ac:spMkLst>
            <pc:docMk/>
            <pc:sldMk cId="430455016" sldId="2147475394"/>
            <ac:spMk id="11" creationId="{130AF7BD-8FCD-BBE5-E9C4-C6A91FDC0DE8}"/>
          </ac:spMkLst>
        </pc:spChg>
        <pc:spChg chg="add mod">
          <ac:chgData name="Pio Parma" userId="9f05d00a-e537-49d7-8068-10844eaca034" providerId="ADAL" clId="{AE5AB2BB-A16E-4143-8E58-03F5B98A59A3}" dt="2025-06-25T00:50:45.312" v="2190"/>
          <ac:spMkLst>
            <pc:docMk/>
            <pc:sldMk cId="430455016" sldId="2147475394"/>
            <ac:spMk id="12" creationId="{E4361D2B-2FAF-69F7-9EE9-5B12D6B48EA8}"/>
          </ac:spMkLst>
        </pc:spChg>
        <pc:spChg chg="add mod">
          <ac:chgData name="Pio Parma" userId="9f05d00a-e537-49d7-8068-10844eaca034" providerId="ADAL" clId="{AE5AB2BB-A16E-4143-8E58-03F5B98A59A3}" dt="2025-06-25T00:50:45.312" v="2190"/>
          <ac:spMkLst>
            <pc:docMk/>
            <pc:sldMk cId="430455016" sldId="2147475394"/>
            <ac:spMk id="23" creationId="{7BC63273-2D76-3287-9012-826A9DB9182F}"/>
          </ac:spMkLst>
        </pc:spChg>
        <pc:spChg chg="add mod">
          <ac:chgData name="Pio Parma" userId="9f05d00a-e537-49d7-8068-10844eaca034" providerId="ADAL" clId="{AE5AB2BB-A16E-4143-8E58-03F5B98A59A3}" dt="2025-06-25T00:50:45.312" v="2190"/>
          <ac:spMkLst>
            <pc:docMk/>
            <pc:sldMk cId="430455016" sldId="2147475394"/>
            <ac:spMk id="24" creationId="{9C9B4B81-F2A1-6DE3-7024-F4DB6691494B}"/>
          </ac:spMkLst>
        </pc:spChg>
        <pc:spChg chg="add mod">
          <ac:chgData name="Pio Parma" userId="9f05d00a-e537-49d7-8068-10844eaca034" providerId="ADAL" clId="{AE5AB2BB-A16E-4143-8E58-03F5B98A59A3}" dt="2025-06-25T00:50:45.312" v="2190"/>
          <ac:spMkLst>
            <pc:docMk/>
            <pc:sldMk cId="430455016" sldId="2147475394"/>
            <ac:spMk id="25" creationId="{84AFD5D3-8455-CF0C-EB8F-2D4AF9C11E4C}"/>
          </ac:spMkLst>
        </pc:spChg>
        <pc:spChg chg="add mod">
          <ac:chgData name="Pio Parma" userId="9f05d00a-e537-49d7-8068-10844eaca034" providerId="ADAL" clId="{AE5AB2BB-A16E-4143-8E58-03F5B98A59A3}" dt="2025-06-25T00:50:45.312" v="2190"/>
          <ac:spMkLst>
            <pc:docMk/>
            <pc:sldMk cId="430455016" sldId="2147475394"/>
            <ac:spMk id="26" creationId="{05899F51-C14A-F98C-84B0-E88D696E0C45}"/>
          </ac:spMkLst>
        </pc:spChg>
        <pc:spChg chg="add mod">
          <ac:chgData name="Pio Parma" userId="9f05d00a-e537-49d7-8068-10844eaca034" providerId="ADAL" clId="{AE5AB2BB-A16E-4143-8E58-03F5B98A59A3}" dt="2025-06-25T00:50:45.312" v="2190"/>
          <ac:spMkLst>
            <pc:docMk/>
            <pc:sldMk cId="430455016" sldId="2147475394"/>
            <ac:spMk id="28" creationId="{2D2B9682-AF50-5637-71F9-590D4251AA31}"/>
          </ac:spMkLst>
        </pc:spChg>
        <pc:graphicFrameChg chg="add mod">
          <ac:chgData name="Pio Parma" userId="9f05d00a-e537-49d7-8068-10844eaca034" providerId="ADAL" clId="{AE5AB2BB-A16E-4143-8E58-03F5B98A59A3}" dt="2025-06-25T00:50:45.312" v="2190"/>
          <ac:graphicFrameMkLst>
            <pc:docMk/>
            <pc:sldMk cId="430455016" sldId="2147475394"/>
            <ac:graphicFrameMk id="22" creationId="{258E6158-CA3E-9BFC-04FD-A0D8BB5C934A}"/>
          </ac:graphicFrameMkLst>
        </pc:graphicFrameChg>
        <pc:picChg chg="del">
          <ac:chgData name="Pio Parma" userId="9f05d00a-e537-49d7-8068-10844eaca034" providerId="ADAL" clId="{AE5AB2BB-A16E-4143-8E58-03F5B98A59A3}" dt="2025-06-25T00:50:41.679" v="2188" actId="478"/>
          <ac:picMkLst>
            <pc:docMk/>
            <pc:sldMk cId="430455016" sldId="2147475394"/>
            <ac:picMk id="7" creationId="{0C285820-FD78-57F9-9165-2949EA823AFD}"/>
          </ac:picMkLst>
        </pc:picChg>
        <pc:picChg chg="del">
          <ac:chgData name="Pio Parma" userId="9f05d00a-e537-49d7-8068-10844eaca034" providerId="ADAL" clId="{AE5AB2BB-A16E-4143-8E58-03F5B98A59A3}" dt="2025-06-25T00:50:41.679" v="2188" actId="478"/>
          <ac:picMkLst>
            <pc:docMk/>
            <pc:sldMk cId="430455016" sldId="2147475394"/>
            <ac:picMk id="8" creationId="{8EA6170D-B07A-26F4-BA44-F9DFCC24B79B}"/>
          </ac:picMkLst>
        </pc:picChg>
        <pc:picChg chg="del">
          <ac:chgData name="Pio Parma" userId="9f05d00a-e537-49d7-8068-10844eaca034" providerId="ADAL" clId="{AE5AB2BB-A16E-4143-8E58-03F5B98A59A3}" dt="2025-06-25T00:50:41.679" v="2188" actId="478"/>
          <ac:picMkLst>
            <pc:docMk/>
            <pc:sldMk cId="430455016" sldId="2147475394"/>
            <ac:picMk id="9" creationId="{59AEB36C-AC0A-0B24-6D66-786FE614F2E2}"/>
          </ac:picMkLst>
        </pc:picChg>
      </pc:sldChg>
      <pc:sldChg chg="addSp delSp modSp add mod modNotes">
        <pc:chgData name="Pio Parma" userId="9f05d00a-e537-49d7-8068-10844eaca034" providerId="ADAL" clId="{AE5AB2BB-A16E-4143-8E58-03F5B98A59A3}" dt="2025-06-25T00:52:17.582" v="2212" actId="2711"/>
        <pc:sldMkLst>
          <pc:docMk/>
          <pc:sldMk cId="2286385228" sldId="2147475395"/>
        </pc:sldMkLst>
        <pc:spChg chg="mod">
          <ac:chgData name="Pio Parma" userId="9f05d00a-e537-49d7-8068-10844eaca034" providerId="ADAL" clId="{AE5AB2BB-A16E-4143-8E58-03F5B98A59A3}" dt="2025-06-25T00:51:13.011" v="2198" actId="14100"/>
          <ac:spMkLst>
            <pc:docMk/>
            <pc:sldMk cId="2286385228" sldId="2147475395"/>
            <ac:spMk id="2" creationId="{E40F2894-BDF9-7D94-9545-CD286E6E7E9A}"/>
          </ac:spMkLst>
        </pc:spChg>
        <pc:spChg chg="add mod">
          <ac:chgData name="Pio Parma" userId="9f05d00a-e537-49d7-8068-10844eaca034" providerId="ADAL" clId="{AE5AB2BB-A16E-4143-8E58-03F5B98A59A3}" dt="2025-06-25T00:51:22.192" v="2201"/>
          <ac:spMkLst>
            <pc:docMk/>
            <pc:sldMk cId="2286385228" sldId="2147475395"/>
            <ac:spMk id="3" creationId="{6540F8A2-7A59-D790-AE81-9B832998983D}"/>
          </ac:spMkLst>
        </pc:spChg>
        <pc:spChg chg="add mod">
          <ac:chgData name="Pio Parma" userId="9f05d00a-e537-49d7-8068-10844eaca034" providerId="ADAL" clId="{AE5AB2BB-A16E-4143-8E58-03F5B98A59A3}" dt="2025-06-25T00:51:22.192" v="2201"/>
          <ac:spMkLst>
            <pc:docMk/>
            <pc:sldMk cId="2286385228" sldId="2147475395"/>
            <ac:spMk id="6" creationId="{ACEAA232-64F1-3859-388B-3209B4A1FF22}"/>
          </ac:spMkLst>
        </pc:spChg>
        <pc:spChg chg="del">
          <ac:chgData name="Pio Parma" userId="9f05d00a-e537-49d7-8068-10844eaca034" providerId="ADAL" clId="{AE5AB2BB-A16E-4143-8E58-03F5B98A59A3}" dt="2025-06-25T00:51:15.834" v="2199" actId="478"/>
          <ac:spMkLst>
            <pc:docMk/>
            <pc:sldMk cId="2286385228" sldId="2147475395"/>
            <ac:spMk id="11" creationId="{C36EC89F-B754-3296-63CB-A422C7546480}"/>
          </ac:spMkLst>
        </pc:spChg>
        <pc:spChg chg="del">
          <ac:chgData name="Pio Parma" userId="9f05d00a-e537-49d7-8068-10844eaca034" providerId="ADAL" clId="{AE5AB2BB-A16E-4143-8E58-03F5B98A59A3}" dt="2025-06-25T00:51:15.834" v="2199" actId="478"/>
          <ac:spMkLst>
            <pc:docMk/>
            <pc:sldMk cId="2286385228" sldId="2147475395"/>
            <ac:spMk id="12" creationId="{486576A6-1315-3972-83A8-0E1839A22998}"/>
          </ac:spMkLst>
        </pc:spChg>
        <pc:spChg chg="del">
          <ac:chgData name="Pio Parma" userId="9f05d00a-e537-49d7-8068-10844eaca034" providerId="ADAL" clId="{AE5AB2BB-A16E-4143-8E58-03F5B98A59A3}" dt="2025-06-25T00:51:15.834" v="2199" actId="478"/>
          <ac:spMkLst>
            <pc:docMk/>
            <pc:sldMk cId="2286385228" sldId="2147475395"/>
            <ac:spMk id="23" creationId="{58410A1D-8435-17AB-AB93-FCCEC0C2C5F3}"/>
          </ac:spMkLst>
        </pc:spChg>
        <pc:spChg chg="del">
          <ac:chgData name="Pio Parma" userId="9f05d00a-e537-49d7-8068-10844eaca034" providerId="ADAL" clId="{AE5AB2BB-A16E-4143-8E58-03F5B98A59A3}" dt="2025-06-25T00:51:15.834" v="2199" actId="478"/>
          <ac:spMkLst>
            <pc:docMk/>
            <pc:sldMk cId="2286385228" sldId="2147475395"/>
            <ac:spMk id="24" creationId="{A0C0A8A0-D11E-CCF1-A510-7A1EAD9BD031}"/>
          </ac:spMkLst>
        </pc:spChg>
        <pc:spChg chg="del">
          <ac:chgData name="Pio Parma" userId="9f05d00a-e537-49d7-8068-10844eaca034" providerId="ADAL" clId="{AE5AB2BB-A16E-4143-8E58-03F5B98A59A3}" dt="2025-06-25T00:51:15.834" v="2199" actId="478"/>
          <ac:spMkLst>
            <pc:docMk/>
            <pc:sldMk cId="2286385228" sldId="2147475395"/>
            <ac:spMk id="25" creationId="{FF40DBA8-800C-B2FC-8B55-13F230668743}"/>
          </ac:spMkLst>
        </pc:spChg>
        <pc:spChg chg="del">
          <ac:chgData name="Pio Parma" userId="9f05d00a-e537-49d7-8068-10844eaca034" providerId="ADAL" clId="{AE5AB2BB-A16E-4143-8E58-03F5B98A59A3}" dt="2025-06-25T00:51:15.834" v="2199" actId="478"/>
          <ac:spMkLst>
            <pc:docMk/>
            <pc:sldMk cId="2286385228" sldId="2147475395"/>
            <ac:spMk id="26" creationId="{EE437FCE-3D62-3D39-D92F-15280A8F0F44}"/>
          </ac:spMkLst>
        </pc:spChg>
        <pc:spChg chg="add mod">
          <ac:chgData name="Pio Parma" userId="9f05d00a-e537-49d7-8068-10844eaca034" providerId="ADAL" clId="{AE5AB2BB-A16E-4143-8E58-03F5B98A59A3}" dt="2025-06-25T00:51:22.192" v="2201"/>
          <ac:spMkLst>
            <pc:docMk/>
            <pc:sldMk cId="2286385228" sldId="2147475395"/>
            <ac:spMk id="27" creationId="{36B97BBE-28B0-FE91-8D10-EC0836295DA8}"/>
          </ac:spMkLst>
        </pc:spChg>
        <pc:spChg chg="del">
          <ac:chgData name="Pio Parma" userId="9f05d00a-e537-49d7-8068-10844eaca034" providerId="ADAL" clId="{AE5AB2BB-A16E-4143-8E58-03F5B98A59A3}" dt="2025-06-25T00:51:15.834" v="2199" actId="478"/>
          <ac:spMkLst>
            <pc:docMk/>
            <pc:sldMk cId="2286385228" sldId="2147475395"/>
            <ac:spMk id="28" creationId="{3E1063A3-0EAB-3CDE-204B-19031AA03C8C}"/>
          </ac:spMkLst>
        </pc:spChg>
        <pc:spChg chg="add mod">
          <ac:chgData name="Pio Parma" userId="9f05d00a-e537-49d7-8068-10844eaca034" providerId="ADAL" clId="{AE5AB2BB-A16E-4143-8E58-03F5B98A59A3}" dt="2025-06-25T00:51:22.192" v="2201"/>
          <ac:spMkLst>
            <pc:docMk/>
            <pc:sldMk cId="2286385228" sldId="2147475395"/>
            <ac:spMk id="29" creationId="{EBDE3229-1BFB-1D5B-9A24-EE7D9E99F5B9}"/>
          </ac:spMkLst>
        </pc:spChg>
        <pc:spChg chg="add mod">
          <ac:chgData name="Pio Parma" userId="9f05d00a-e537-49d7-8068-10844eaca034" providerId="ADAL" clId="{AE5AB2BB-A16E-4143-8E58-03F5B98A59A3}" dt="2025-06-25T00:51:22.192" v="2201"/>
          <ac:spMkLst>
            <pc:docMk/>
            <pc:sldMk cId="2286385228" sldId="2147475395"/>
            <ac:spMk id="31" creationId="{1A8DFA8B-3578-F227-86D7-46795554AD62}"/>
          </ac:spMkLst>
        </pc:spChg>
        <pc:spChg chg="add mod">
          <ac:chgData name="Pio Parma" userId="9f05d00a-e537-49d7-8068-10844eaca034" providerId="ADAL" clId="{AE5AB2BB-A16E-4143-8E58-03F5B98A59A3}" dt="2025-06-25T00:51:22.192" v="2201"/>
          <ac:spMkLst>
            <pc:docMk/>
            <pc:sldMk cId="2286385228" sldId="2147475395"/>
            <ac:spMk id="34" creationId="{AE1159C6-E9B2-43BF-491A-EA60BE574D09}"/>
          </ac:spMkLst>
        </pc:spChg>
        <pc:spChg chg="add mod">
          <ac:chgData name="Pio Parma" userId="9f05d00a-e537-49d7-8068-10844eaca034" providerId="ADAL" clId="{AE5AB2BB-A16E-4143-8E58-03F5B98A59A3}" dt="2025-06-25T00:51:22.192" v="2201"/>
          <ac:spMkLst>
            <pc:docMk/>
            <pc:sldMk cId="2286385228" sldId="2147475395"/>
            <ac:spMk id="36" creationId="{B35088D6-BAE5-E6B2-FD17-6F4DD9C3DEFD}"/>
          </ac:spMkLst>
        </pc:spChg>
        <pc:spChg chg="add mod">
          <ac:chgData name="Pio Parma" userId="9f05d00a-e537-49d7-8068-10844eaca034" providerId="ADAL" clId="{AE5AB2BB-A16E-4143-8E58-03F5B98A59A3}" dt="2025-06-25T00:51:22.192" v="2201"/>
          <ac:spMkLst>
            <pc:docMk/>
            <pc:sldMk cId="2286385228" sldId="2147475395"/>
            <ac:spMk id="37" creationId="{1D6C2D1E-5E6D-58F4-6E77-682355E765E6}"/>
          </ac:spMkLst>
        </pc:spChg>
        <pc:spChg chg="add mod">
          <ac:chgData name="Pio Parma" userId="9f05d00a-e537-49d7-8068-10844eaca034" providerId="ADAL" clId="{AE5AB2BB-A16E-4143-8E58-03F5B98A59A3}" dt="2025-06-25T00:51:22.192" v="2201"/>
          <ac:spMkLst>
            <pc:docMk/>
            <pc:sldMk cId="2286385228" sldId="2147475395"/>
            <ac:spMk id="40" creationId="{B2443EAD-1107-2364-6056-7F37B8682909}"/>
          </ac:spMkLst>
        </pc:spChg>
        <pc:spChg chg="add mod">
          <ac:chgData name="Pio Parma" userId="9f05d00a-e537-49d7-8068-10844eaca034" providerId="ADAL" clId="{AE5AB2BB-A16E-4143-8E58-03F5B98A59A3}" dt="2025-06-25T00:51:22.192" v="2201"/>
          <ac:spMkLst>
            <pc:docMk/>
            <pc:sldMk cId="2286385228" sldId="2147475395"/>
            <ac:spMk id="41" creationId="{160B8F48-A811-4CFA-9628-0D06BE836957}"/>
          </ac:spMkLst>
        </pc:spChg>
        <pc:graphicFrameChg chg="del">
          <ac:chgData name="Pio Parma" userId="9f05d00a-e537-49d7-8068-10844eaca034" providerId="ADAL" clId="{AE5AB2BB-A16E-4143-8E58-03F5B98A59A3}" dt="2025-06-25T00:51:15.834" v="2199" actId="478"/>
          <ac:graphicFrameMkLst>
            <pc:docMk/>
            <pc:sldMk cId="2286385228" sldId="2147475395"/>
            <ac:graphicFrameMk id="22" creationId="{DEF7561B-5D3D-3194-BE50-D99348D0F97F}"/>
          </ac:graphicFrameMkLst>
        </pc:graphicFrameChg>
      </pc:sldChg>
      <pc:sldChg chg="addSp delSp modSp add mod modNotesTx">
        <pc:chgData name="Pio Parma" userId="9f05d00a-e537-49d7-8068-10844eaca034" providerId="ADAL" clId="{AE5AB2BB-A16E-4143-8E58-03F5B98A59A3}" dt="2025-06-25T01:04:34.060" v="2508" actId="6549"/>
        <pc:sldMkLst>
          <pc:docMk/>
          <pc:sldMk cId="430085025" sldId="2147475396"/>
        </pc:sldMkLst>
        <pc:spChg chg="mod">
          <ac:chgData name="Pio Parma" userId="9f05d00a-e537-49d7-8068-10844eaca034" providerId="ADAL" clId="{AE5AB2BB-A16E-4143-8E58-03F5B98A59A3}" dt="2025-06-25T01:04:34.060" v="2508" actId="6549"/>
          <ac:spMkLst>
            <pc:docMk/>
            <pc:sldMk cId="430085025" sldId="2147475396"/>
            <ac:spMk id="2" creationId="{12731131-96EA-54AE-DFA0-C4A463662A29}"/>
          </ac:spMkLst>
        </pc:spChg>
        <pc:spChg chg="add">
          <ac:chgData name="Pio Parma" userId="9f05d00a-e537-49d7-8068-10844eaca034" providerId="ADAL" clId="{AE5AB2BB-A16E-4143-8E58-03F5B98A59A3}" dt="2025-06-25T00:56:01.064" v="2234"/>
          <ac:spMkLst>
            <pc:docMk/>
            <pc:sldMk cId="430085025" sldId="2147475396"/>
            <ac:spMk id="3" creationId="{9BF5594E-5641-0E34-EA20-E0612D253294}"/>
          </ac:spMkLst>
        </pc:spChg>
        <pc:spChg chg="del">
          <ac:chgData name="Pio Parma" userId="9f05d00a-e537-49d7-8068-10844eaca034" providerId="ADAL" clId="{AE5AB2BB-A16E-4143-8E58-03F5B98A59A3}" dt="2025-06-25T00:55:22.705" v="2226" actId="478"/>
          <ac:spMkLst>
            <pc:docMk/>
            <pc:sldMk cId="430085025" sldId="2147475396"/>
            <ac:spMk id="4" creationId="{EF513C7C-677E-07AA-CDD6-06A526675428}"/>
          </ac:spMkLst>
        </pc:spChg>
        <pc:spChg chg="mod">
          <ac:chgData name="Pio Parma" userId="9f05d00a-e537-49d7-8068-10844eaca034" providerId="ADAL" clId="{AE5AB2BB-A16E-4143-8E58-03F5B98A59A3}" dt="2025-06-25T00:57:40.553" v="2288" actId="6549"/>
          <ac:spMkLst>
            <pc:docMk/>
            <pc:sldMk cId="430085025" sldId="2147475396"/>
            <ac:spMk id="5" creationId="{D9B80429-C8DD-9BB4-E26B-4F157F0165EA}"/>
          </ac:spMkLst>
        </pc:spChg>
        <pc:spChg chg="del">
          <ac:chgData name="Pio Parma" userId="9f05d00a-e537-49d7-8068-10844eaca034" providerId="ADAL" clId="{AE5AB2BB-A16E-4143-8E58-03F5B98A59A3}" dt="2025-06-25T00:55:22.705" v="2226" actId="478"/>
          <ac:spMkLst>
            <pc:docMk/>
            <pc:sldMk cId="430085025" sldId="2147475396"/>
            <ac:spMk id="6" creationId="{D31B42AD-A4ED-1571-4C01-5B560DF14D94}"/>
          </ac:spMkLst>
        </pc:spChg>
        <pc:spChg chg="del">
          <ac:chgData name="Pio Parma" userId="9f05d00a-e537-49d7-8068-10844eaca034" providerId="ADAL" clId="{AE5AB2BB-A16E-4143-8E58-03F5B98A59A3}" dt="2025-06-25T00:55:22.705" v="2226" actId="478"/>
          <ac:spMkLst>
            <pc:docMk/>
            <pc:sldMk cId="430085025" sldId="2147475396"/>
            <ac:spMk id="7" creationId="{6E3A8A8A-0026-6381-22F7-5705A3DA8A5C}"/>
          </ac:spMkLst>
        </pc:spChg>
        <pc:spChg chg="add">
          <ac:chgData name="Pio Parma" userId="9f05d00a-e537-49d7-8068-10844eaca034" providerId="ADAL" clId="{AE5AB2BB-A16E-4143-8E58-03F5B98A59A3}" dt="2025-06-25T00:56:01.064" v="2234"/>
          <ac:spMkLst>
            <pc:docMk/>
            <pc:sldMk cId="430085025" sldId="2147475396"/>
            <ac:spMk id="8" creationId="{61A15746-9169-56B1-65FF-89CC944C507D}"/>
          </ac:spMkLst>
        </pc:spChg>
        <pc:spChg chg="add del">
          <ac:chgData name="Pio Parma" userId="9f05d00a-e537-49d7-8068-10844eaca034" providerId="ADAL" clId="{AE5AB2BB-A16E-4143-8E58-03F5B98A59A3}" dt="2025-06-25T00:56:11.666" v="2236" actId="478"/>
          <ac:spMkLst>
            <pc:docMk/>
            <pc:sldMk cId="430085025" sldId="2147475396"/>
            <ac:spMk id="9" creationId="{4305C025-9DDC-37A5-D241-87BB3571DF55}"/>
          </ac:spMkLst>
        </pc:spChg>
        <pc:spChg chg="del">
          <ac:chgData name="Pio Parma" userId="9f05d00a-e537-49d7-8068-10844eaca034" providerId="ADAL" clId="{AE5AB2BB-A16E-4143-8E58-03F5B98A59A3}" dt="2025-06-25T00:55:22.705" v="2226" actId="478"/>
          <ac:spMkLst>
            <pc:docMk/>
            <pc:sldMk cId="430085025" sldId="2147475396"/>
            <ac:spMk id="10" creationId="{4B2F6280-2F62-E205-EBAB-E422FE741456}"/>
          </ac:spMkLst>
        </pc:spChg>
        <pc:spChg chg="del">
          <ac:chgData name="Pio Parma" userId="9f05d00a-e537-49d7-8068-10844eaca034" providerId="ADAL" clId="{AE5AB2BB-A16E-4143-8E58-03F5B98A59A3}" dt="2025-06-25T00:55:22.705" v="2226" actId="478"/>
          <ac:spMkLst>
            <pc:docMk/>
            <pc:sldMk cId="430085025" sldId="2147475396"/>
            <ac:spMk id="11" creationId="{082F35F6-9518-50C1-8037-8AF35B43C843}"/>
          </ac:spMkLst>
        </pc:spChg>
        <pc:spChg chg="add del">
          <ac:chgData name="Pio Parma" userId="9f05d00a-e537-49d7-8068-10844eaca034" providerId="ADAL" clId="{AE5AB2BB-A16E-4143-8E58-03F5B98A59A3}" dt="2025-06-25T00:56:11.666" v="2236" actId="478"/>
          <ac:spMkLst>
            <pc:docMk/>
            <pc:sldMk cId="430085025" sldId="2147475396"/>
            <ac:spMk id="12" creationId="{8A63E31C-8489-05B2-27C8-E4F604C8A82D}"/>
          </ac:spMkLst>
        </pc:spChg>
        <pc:spChg chg="del">
          <ac:chgData name="Pio Parma" userId="9f05d00a-e537-49d7-8068-10844eaca034" providerId="ADAL" clId="{AE5AB2BB-A16E-4143-8E58-03F5B98A59A3}" dt="2025-06-25T00:55:25.225" v="2227" actId="478"/>
          <ac:spMkLst>
            <pc:docMk/>
            <pc:sldMk cId="430085025" sldId="2147475396"/>
            <ac:spMk id="13" creationId="{E410ACCC-D437-146E-3277-55276FD43F3C}"/>
          </ac:spMkLst>
        </pc:spChg>
        <pc:spChg chg="add del">
          <ac:chgData name="Pio Parma" userId="9f05d00a-e537-49d7-8068-10844eaca034" providerId="ADAL" clId="{AE5AB2BB-A16E-4143-8E58-03F5B98A59A3}" dt="2025-06-25T00:56:20.363" v="2238" actId="478"/>
          <ac:spMkLst>
            <pc:docMk/>
            <pc:sldMk cId="430085025" sldId="2147475396"/>
            <ac:spMk id="17" creationId="{51F116BF-76BF-735E-AF69-979EFD932BD3}"/>
          </ac:spMkLst>
        </pc:spChg>
        <pc:spChg chg="add del">
          <ac:chgData name="Pio Parma" userId="9f05d00a-e537-49d7-8068-10844eaca034" providerId="ADAL" clId="{AE5AB2BB-A16E-4143-8E58-03F5B98A59A3}" dt="2025-06-25T00:56:20.363" v="2238" actId="478"/>
          <ac:spMkLst>
            <pc:docMk/>
            <pc:sldMk cId="430085025" sldId="2147475396"/>
            <ac:spMk id="18" creationId="{6F3E0009-8D02-ABEC-6670-3F80782CE3D7}"/>
          </ac:spMkLst>
        </pc:spChg>
        <pc:spChg chg="add mod">
          <ac:chgData name="Pio Parma" userId="9f05d00a-e537-49d7-8068-10844eaca034" providerId="ADAL" clId="{AE5AB2BB-A16E-4143-8E58-03F5B98A59A3}" dt="2025-06-25T01:04:09.620" v="2503" actId="20577"/>
          <ac:spMkLst>
            <pc:docMk/>
            <pc:sldMk cId="430085025" sldId="2147475396"/>
            <ac:spMk id="19" creationId="{E25C1EAA-9B62-F6B3-9D46-C2B1DA2B72EC}"/>
          </ac:spMkLst>
        </pc:spChg>
        <pc:spChg chg="add mod">
          <ac:chgData name="Pio Parma" userId="9f05d00a-e537-49d7-8068-10844eaca034" providerId="ADAL" clId="{AE5AB2BB-A16E-4143-8E58-03F5B98A59A3}" dt="2025-06-25T01:03:51.224" v="2477" actId="113"/>
          <ac:spMkLst>
            <pc:docMk/>
            <pc:sldMk cId="430085025" sldId="2147475396"/>
            <ac:spMk id="22" creationId="{3B1A39E4-48A0-DB44-AA36-A565084F7B68}"/>
          </ac:spMkLst>
        </pc:spChg>
        <pc:graphicFrameChg chg="add mod">
          <ac:chgData name="Pio Parma" userId="9f05d00a-e537-49d7-8068-10844eaca034" providerId="ADAL" clId="{AE5AB2BB-A16E-4143-8E58-03F5B98A59A3}" dt="2025-06-25T01:02:26.125" v="2439" actId="1036"/>
          <ac:graphicFrameMkLst>
            <pc:docMk/>
            <pc:sldMk cId="430085025" sldId="2147475396"/>
            <ac:graphicFrameMk id="20" creationId="{D5680342-6005-415B-A01B-1BEFCFD6C58C}"/>
          </ac:graphicFrameMkLst>
        </pc:graphicFrameChg>
        <pc:picChg chg="add">
          <ac:chgData name="Pio Parma" userId="9f05d00a-e537-49d7-8068-10844eaca034" providerId="ADAL" clId="{AE5AB2BB-A16E-4143-8E58-03F5B98A59A3}" dt="2025-06-25T00:56:01.064" v="2234"/>
          <ac:picMkLst>
            <pc:docMk/>
            <pc:sldMk cId="430085025" sldId="2147475396"/>
            <ac:picMk id="4097" creationId="{FC74F655-768A-6E2D-37F2-3CDD12E2A3F3}"/>
          </ac:picMkLst>
        </pc:picChg>
        <pc:picChg chg="add del">
          <ac:chgData name="Pio Parma" userId="9f05d00a-e537-49d7-8068-10844eaca034" providerId="ADAL" clId="{AE5AB2BB-A16E-4143-8E58-03F5B98A59A3}" dt="2025-06-25T00:56:11.666" v="2236" actId="478"/>
          <ac:picMkLst>
            <pc:docMk/>
            <pc:sldMk cId="430085025" sldId="2147475396"/>
            <ac:picMk id="4100" creationId="{02E2D169-EA64-9007-7A28-A179B26E3306}"/>
          </ac:picMkLst>
        </pc:picChg>
        <pc:picChg chg="add del">
          <ac:chgData name="Pio Parma" userId="9f05d00a-e537-49d7-8068-10844eaca034" providerId="ADAL" clId="{AE5AB2BB-A16E-4143-8E58-03F5B98A59A3}" dt="2025-06-25T00:56:20.363" v="2238" actId="478"/>
          <ac:picMkLst>
            <pc:docMk/>
            <pc:sldMk cId="430085025" sldId="2147475396"/>
            <ac:picMk id="4103" creationId="{58769AC1-2377-DB98-A903-85CFCF2189F1}"/>
          </ac:picMkLst>
        </pc:picChg>
        <pc:cxnChg chg="add mod">
          <ac:chgData name="Pio Parma" userId="9f05d00a-e537-49d7-8068-10844eaca034" providerId="ADAL" clId="{AE5AB2BB-A16E-4143-8E58-03F5B98A59A3}" dt="2025-06-25T01:03:08.079" v="2470" actId="208"/>
          <ac:cxnSpMkLst>
            <pc:docMk/>
            <pc:sldMk cId="430085025" sldId="2147475396"/>
            <ac:cxnSpMk id="24" creationId="{6709DC03-2CA0-976B-AE8C-7315943761C2}"/>
          </ac:cxnSpMkLst>
        </pc:cxnChg>
      </pc:sldChg>
      <pc:sldMasterChg chg="modSp delSldLayout modSldLayout">
        <pc:chgData name="Pio Parma" userId="9f05d00a-e537-49d7-8068-10844eaca034" providerId="ADAL" clId="{AE5AB2BB-A16E-4143-8E58-03F5B98A59A3}" dt="2025-06-25T00:51:25.224" v="2202" actId="47"/>
        <pc:sldMasterMkLst>
          <pc:docMk/>
          <pc:sldMasterMk cId="2836490435" sldId="2147483648"/>
        </pc:sldMasterMkLst>
        <pc:spChg chg="mod">
          <ac:chgData name="Pio Parma" userId="9f05d00a-e537-49d7-8068-10844eaca034" providerId="ADAL" clId="{AE5AB2BB-A16E-4143-8E58-03F5B98A59A3}" dt="2025-06-25T00:49:56.514" v="2182"/>
          <ac:spMkLst>
            <pc:docMk/>
            <pc:sldMasterMk cId="2836490435" sldId="2147483648"/>
            <ac:spMk id="9" creationId="{6990FCCA-7A0D-4536-8AAA-3EFEE95F91AA}"/>
          </ac:spMkLst>
        </pc:spChg>
        <pc:graphicFrameChg chg="mod">
          <ac:chgData name="Pio Parma" userId="9f05d00a-e537-49d7-8068-10844eaca034" providerId="ADAL" clId="{AE5AB2BB-A16E-4143-8E58-03F5B98A59A3}" dt="2025-06-25T00:49:56.514" v="2182"/>
          <ac:graphicFrameMkLst>
            <pc:docMk/>
            <pc:sldMasterMk cId="2836490435" sldId="2147483648"/>
            <ac:graphicFrameMk id="2" creationId="{C5F2D8A8-0099-4A9D-8086-F133407E0391}"/>
          </ac:graphicFrameMkLst>
        </pc:graphicFrameChg>
        <pc:picChg chg="mod">
          <ac:chgData name="Pio Parma" userId="9f05d00a-e537-49d7-8068-10844eaca034" providerId="ADAL" clId="{AE5AB2BB-A16E-4143-8E58-03F5B98A59A3}" dt="2025-06-25T00:49:56.514" v="2182"/>
          <ac:picMkLst>
            <pc:docMk/>
            <pc:sldMasterMk cId="2836490435" sldId="2147483648"/>
            <ac:picMk id="4" creationId="{ED0D45C5-4E88-7A3A-93B8-45968E2A25FD}"/>
          </ac:picMkLst>
        </pc:picChg>
        <pc:picChg chg="mod">
          <ac:chgData name="Pio Parma" userId="9f05d00a-e537-49d7-8068-10844eaca034" providerId="ADAL" clId="{AE5AB2BB-A16E-4143-8E58-03F5B98A59A3}" dt="2025-06-25T00:49:56.514" v="2182"/>
          <ac:picMkLst>
            <pc:docMk/>
            <pc:sldMasterMk cId="2836490435" sldId="2147483648"/>
            <ac:picMk id="7" creationId="{00000000-0000-0000-0000-000000000000}"/>
          </ac:picMkLst>
        </pc:picChg>
        <pc:cxnChg chg="mod">
          <ac:chgData name="Pio Parma" userId="9f05d00a-e537-49d7-8068-10844eaca034" providerId="ADAL" clId="{AE5AB2BB-A16E-4143-8E58-03F5B98A59A3}" dt="2025-06-25T00:49:56.514" v="2182"/>
          <ac:cxnSpMkLst>
            <pc:docMk/>
            <pc:sldMasterMk cId="2836490435" sldId="2147483648"/>
            <ac:cxnSpMk id="8" creationId="{B914DDBC-A419-41FA-A158-73DD87EDB6E8}"/>
          </ac:cxnSpMkLst>
        </pc:cxnChg>
        <pc:sldLayoutChg chg="modSp">
          <pc:chgData name="Pio Parma" userId="9f05d00a-e537-49d7-8068-10844eaca034" providerId="ADAL" clId="{AE5AB2BB-A16E-4143-8E58-03F5B98A59A3}" dt="2025-06-25T00:49:56.514" v="2182"/>
          <pc:sldLayoutMkLst>
            <pc:docMk/>
            <pc:sldMasterMk cId="2836490435" sldId="2147483648"/>
            <pc:sldLayoutMk cId="2635163181" sldId="2147483664"/>
          </pc:sldLayoutMkLst>
          <pc:spChg chg="mod">
            <ac:chgData name="Pio Parma" userId="9f05d00a-e537-49d7-8068-10844eaca034" providerId="ADAL" clId="{AE5AB2BB-A16E-4143-8E58-03F5B98A59A3}" dt="2025-06-25T00:49:56.514" v="2182"/>
            <ac:spMkLst>
              <pc:docMk/>
              <pc:sldMasterMk cId="2836490435" sldId="2147483648"/>
              <pc:sldLayoutMk cId="2635163181" sldId="2147483664"/>
              <ac:spMk id="2" creationId="{AD11B1C0-E831-460E-B679-473C507CE8AF}"/>
            </ac:spMkLst>
          </pc:spChg>
          <pc:spChg chg="mod">
            <ac:chgData name="Pio Parma" userId="9f05d00a-e537-49d7-8068-10844eaca034" providerId="ADAL" clId="{AE5AB2BB-A16E-4143-8E58-03F5B98A59A3}" dt="2025-06-25T00:49:56.514" v="2182"/>
            <ac:spMkLst>
              <pc:docMk/>
              <pc:sldMasterMk cId="2836490435" sldId="2147483648"/>
              <pc:sldLayoutMk cId="2635163181" sldId="2147483664"/>
              <ac:spMk id="9" creationId="{C381A194-FD88-4937-AD2C-F0D70BAFD686}"/>
            </ac:spMkLst>
          </pc:spChg>
          <pc:spChg chg="mod">
            <ac:chgData name="Pio Parma" userId="9f05d00a-e537-49d7-8068-10844eaca034" providerId="ADAL" clId="{AE5AB2BB-A16E-4143-8E58-03F5B98A59A3}" dt="2025-06-25T00:49:56.514" v="2182"/>
            <ac:spMkLst>
              <pc:docMk/>
              <pc:sldMasterMk cId="2836490435" sldId="2147483648"/>
              <pc:sldLayoutMk cId="2635163181" sldId="2147483664"/>
              <ac:spMk id="10" creationId="{E48C28C1-455E-4BEB-AA3B-64852673EE1D}"/>
            </ac:spMkLst>
          </pc:spChg>
          <pc:spChg chg="mod">
            <ac:chgData name="Pio Parma" userId="9f05d00a-e537-49d7-8068-10844eaca034" providerId="ADAL" clId="{AE5AB2BB-A16E-4143-8E58-03F5B98A59A3}" dt="2025-06-25T00:49:56.514" v="2182"/>
            <ac:spMkLst>
              <pc:docMk/>
              <pc:sldMasterMk cId="2836490435" sldId="2147483648"/>
              <pc:sldLayoutMk cId="2635163181" sldId="2147483664"/>
              <ac:spMk id="11" creationId="{2D942B9A-A55E-4682-A543-6D063B114899}"/>
            </ac:spMkLst>
          </pc:spChg>
          <pc:spChg chg="mod">
            <ac:chgData name="Pio Parma" userId="9f05d00a-e537-49d7-8068-10844eaca034" providerId="ADAL" clId="{AE5AB2BB-A16E-4143-8E58-03F5B98A59A3}" dt="2025-06-25T00:49:56.514" v="2182"/>
            <ac:spMkLst>
              <pc:docMk/>
              <pc:sldMasterMk cId="2836490435" sldId="2147483648"/>
              <pc:sldLayoutMk cId="2635163181" sldId="2147483664"/>
              <ac:spMk id="12" creationId="{23C36DDE-09C7-41CB-9CBE-B45153495ED5}"/>
            </ac:spMkLst>
          </pc:spChg>
          <pc:spChg chg="mod">
            <ac:chgData name="Pio Parma" userId="9f05d00a-e537-49d7-8068-10844eaca034" providerId="ADAL" clId="{AE5AB2BB-A16E-4143-8E58-03F5B98A59A3}" dt="2025-06-25T00:49:56.514" v="2182"/>
            <ac:spMkLst>
              <pc:docMk/>
              <pc:sldMasterMk cId="2836490435" sldId="2147483648"/>
              <pc:sldLayoutMk cId="2635163181" sldId="2147483664"/>
              <ac:spMk id="13" creationId="{63D91A6B-A4AD-471F-802C-625681E21BF9}"/>
            </ac:spMkLst>
          </pc:spChg>
          <pc:spChg chg="mod">
            <ac:chgData name="Pio Parma" userId="9f05d00a-e537-49d7-8068-10844eaca034" providerId="ADAL" clId="{AE5AB2BB-A16E-4143-8E58-03F5B98A59A3}" dt="2025-06-25T00:49:56.514" v="2182"/>
            <ac:spMkLst>
              <pc:docMk/>
              <pc:sldMasterMk cId="2836490435" sldId="2147483648"/>
              <pc:sldLayoutMk cId="2635163181" sldId="2147483664"/>
              <ac:spMk id="16" creationId="{4ED0E4C7-47E5-4FB6-807B-90C3A58DB331}"/>
            </ac:spMkLst>
          </pc:spChg>
          <pc:picChg chg="mod">
            <ac:chgData name="Pio Parma" userId="9f05d00a-e537-49d7-8068-10844eaca034" providerId="ADAL" clId="{AE5AB2BB-A16E-4143-8E58-03F5B98A59A3}" dt="2025-06-25T00:49:56.514" v="2182"/>
            <ac:picMkLst>
              <pc:docMk/>
              <pc:sldMasterMk cId="2836490435" sldId="2147483648"/>
              <pc:sldLayoutMk cId="2635163181" sldId="2147483664"/>
              <ac:picMk id="14" creationId="{119B2E5F-B3AB-4C64-9217-650FE577EDC4}"/>
            </ac:picMkLst>
          </pc:picChg>
          <pc:picChg chg="mod">
            <ac:chgData name="Pio Parma" userId="9f05d00a-e537-49d7-8068-10844eaca034" providerId="ADAL" clId="{AE5AB2BB-A16E-4143-8E58-03F5B98A59A3}" dt="2025-06-25T00:49:56.514" v="2182"/>
            <ac:picMkLst>
              <pc:docMk/>
              <pc:sldMasterMk cId="2836490435" sldId="2147483648"/>
              <pc:sldLayoutMk cId="2635163181" sldId="2147483664"/>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2836490435" sldId="2147483648"/>
            <pc:sldLayoutMk cId="3840833878" sldId="2147483666"/>
          </pc:sldLayoutMkLst>
          <pc:spChg chg="mod">
            <ac:chgData name="Pio Parma" userId="9f05d00a-e537-49d7-8068-10844eaca034" providerId="ADAL" clId="{AE5AB2BB-A16E-4143-8E58-03F5B98A59A3}" dt="2025-06-25T00:49:56.514" v="2182"/>
            <ac:spMkLst>
              <pc:docMk/>
              <pc:sldMasterMk cId="2836490435" sldId="2147483648"/>
              <pc:sldLayoutMk cId="3840833878" sldId="2147483666"/>
              <ac:spMk id="2" creationId="{34B0247E-C23A-4A31-B60B-C6B02AC79597}"/>
            </ac:spMkLst>
          </pc:spChg>
          <pc:spChg chg="mod">
            <ac:chgData name="Pio Parma" userId="9f05d00a-e537-49d7-8068-10844eaca034" providerId="ADAL" clId="{AE5AB2BB-A16E-4143-8E58-03F5B98A59A3}" dt="2025-06-25T00:49:56.514" v="2182"/>
            <ac:spMkLst>
              <pc:docMk/>
              <pc:sldMasterMk cId="2836490435" sldId="2147483648"/>
              <pc:sldLayoutMk cId="3840833878" sldId="2147483666"/>
              <ac:spMk id="6" creationId="{2997CE74-FC52-42EC-BC36-AA81E2E2126A}"/>
            </ac:spMkLst>
          </pc:spChg>
          <pc:graphicFrameChg chg="mod">
            <ac:chgData name="Pio Parma" userId="9f05d00a-e537-49d7-8068-10844eaca034" providerId="ADAL" clId="{AE5AB2BB-A16E-4143-8E58-03F5B98A59A3}" dt="2025-06-25T00:49:56.514" v="2182"/>
            <ac:graphicFrameMkLst>
              <pc:docMk/>
              <pc:sldMasterMk cId="2836490435" sldId="2147483648"/>
              <pc:sldLayoutMk cId="3840833878" sldId="2147483666"/>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2836490435" sldId="2147483648"/>
            <pc:sldLayoutMk cId="2451253675" sldId="2147483673"/>
          </pc:sldLayoutMkLst>
          <pc:spChg chg="mod">
            <ac:chgData name="Pio Parma" userId="9f05d00a-e537-49d7-8068-10844eaca034" providerId="ADAL" clId="{AE5AB2BB-A16E-4143-8E58-03F5B98A59A3}" dt="2025-06-25T00:49:56.514" v="2182"/>
            <ac:spMkLst>
              <pc:docMk/>
              <pc:sldMasterMk cId="2836490435" sldId="2147483648"/>
              <pc:sldLayoutMk cId="2451253675" sldId="2147483673"/>
              <ac:spMk id="3" creationId="{00000000-0000-0000-0000-000000000000}"/>
            </ac:spMkLst>
          </pc:spChg>
          <pc:spChg chg="mod">
            <ac:chgData name="Pio Parma" userId="9f05d00a-e537-49d7-8068-10844eaca034" providerId="ADAL" clId="{AE5AB2BB-A16E-4143-8E58-03F5B98A59A3}" dt="2025-06-25T00:49:56.514" v="2182"/>
            <ac:spMkLst>
              <pc:docMk/>
              <pc:sldMasterMk cId="2836490435" sldId="2147483648"/>
              <pc:sldLayoutMk cId="2451253675" sldId="2147483673"/>
              <ac:spMk id="5" creationId="{E03CB189-36A0-410B-9D61-075B30C14D42}"/>
            </ac:spMkLst>
          </pc:spChg>
          <pc:picChg chg="mod">
            <ac:chgData name="Pio Parma" userId="9f05d00a-e537-49d7-8068-10844eaca034" providerId="ADAL" clId="{AE5AB2BB-A16E-4143-8E58-03F5B98A59A3}" dt="2025-06-25T00:49:56.514" v="2182"/>
            <ac:picMkLst>
              <pc:docMk/>
              <pc:sldMasterMk cId="2836490435" sldId="2147483648"/>
              <pc:sldLayoutMk cId="2451253675" sldId="2147483673"/>
              <ac:picMk id="4" creationId="{097C489D-B365-4A63-B8F6-B4DF74BAE691}"/>
            </ac:picMkLst>
          </pc:picChg>
        </pc:sldLayoutChg>
        <pc:sldLayoutChg chg="modSp">
          <pc:chgData name="Pio Parma" userId="9f05d00a-e537-49d7-8068-10844eaca034" providerId="ADAL" clId="{AE5AB2BB-A16E-4143-8E58-03F5B98A59A3}" dt="2025-06-25T00:49:56.514" v="2182"/>
          <pc:sldLayoutMkLst>
            <pc:docMk/>
            <pc:sldMasterMk cId="2836490435" sldId="2147483648"/>
            <pc:sldLayoutMk cId="1249045269" sldId="2147483674"/>
          </pc:sldLayoutMkLst>
          <pc:spChg chg="mod">
            <ac:chgData name="Pio Parma" userId="9f05d00a-e537-49d7-8068-10844eaca034" providerId="ADAL" clId="{AE5AB2BB-A16E-4143-8E58-03F5B98A59A3}" dt="2025-06-25T00:49:56.514" v="2182"/>
            <ac:spMkLst>
              <pc:docMk/>
              <pc:sldMasterMk cId="2836490435" sldId="2147483648"/>
              <pc:sldLayoutMk cId="1249045269" sldId="2147483674"/>
              <ac:spMk id="4" creationId="{A513269F-8769-4D15-BDFB-860623E861C9}"/>
            </ac:spMkLst>
          </pc:spChg>
          <pc:cxnChg chg="mod">
            <ac:chgData name="Pio Parma" userId="9f05d00a-e537-49d7-8068-10844eaca034" providerId="ADAL" clId="{AE5AB2BB-A16E-4143-8E58-03F5B98A59A3}" dt="2025-06-25T00:49:56.514" v="2182"/>
            <ac:cxnSpMkLst>
              <pc:docMk/>
              <pc:sldMasterMk cId="2836490435" sldId="2147483648"/>
              <pc:sldLayoutMk cId="1249045269" sldId="2147483674"/>
              <ac:cxnSpMk id="3" creationId="{480F71A9-D972-4409-A7C4-6DA65A4DD8BA}"/>
            </ac:cxnSpMkLst>
          </pc:cxnChg>
        </pc:sldLayoutChg>
        <pc:sldLayoutChg chg="modSp">
          <pc:chgData name="Pio Parma" userId="9f05d00a-e537-49d7-8068-10844eaca034" providerId="ADAL" clId="{AE5AB2BB-A16E-4143-8E58-03F5B98A59A3}" dt="2025-06-25T00:49:56.514" v="2182"/>
          <pc:sldLayoutMkLst>
            <pc:docMk/>
            <pc:sldMasterMk cId="2836490435" sldId="2147483648"/>
            <pc:sldLayoutMk cId="669102541" sldId="2147483675"/>
          </pc:sldLayoutMkLst>
          <pc:spChg chg="mod">
            <ac:chgData name="Pio Parma" userId="9f05d00a-e537-49d7-8068-10844eaca034" providerId="ADAL" clId="{AE5AB2BB-A16E-4143-8E58-03F5B98A59A3}" dt="2025-06-25T00:49:56.514" v="2182"/>
            <ac:spMkLst>
              <pc:docMk/>
              <pc:sldMasterMk cId="2836490435" sldId="2147483648"/>
              <pc:sldLayoutMk cId="669102541" sldId="2147483675"/>
              <ac:spMk id="2" creationId="{AD11B1C0-E831-460E-B679-473C507CE8AF}"/>
            </ac:spMkLst>
          </pc:spChg>
          <pc:spChg chg="mod">
            <ac:chgData name="Pio Parma" userId="9f05d00a-e537-49d7-8068-10844eaca034" providerId="ADAL" clId="{AE5AB2BB-A16E-4143-8E58-03F5B98A59A3}" dt="2025-06-25T00:49:56.514" v="2182"/>
            <ac:spMkLst>
              <pc:docMk/>
              <pc:sldMasterMk cId="2836490435" sldId="2147483648"/>
              <pc:sldLayoutMk cId="669102541" sldId="2147483675"/>
              <ac:spMk id="6" creationId="{EF52FC51-0662-4EDC-B14C-1634434B37E8}"/>
            </ac:spMkLst>
          </pc:spChg>
          <pc:spChg chg="mod">
            <ac:chgData name="Pio Parma" userId="9f05d00a-e537-49d7-8068-10844eaca034" providerId="ADAL" clId="{AE5AB2BB-A16E-4143-8E58-03F5B98A59A3}" dt="2025-06-25T00:49:56.514" v="2182"/>
            <ac:spMkLst>
              <pc:docMk/>
              <pc:sldMasterMk cId="2836490435" sldId="2147483648"/>
              <pc:sldLayoutMk cId="669102541" sldId="2147483675"/>
              <ac:spMk id="8" creationId="{D6EB0F33-CCF1-46FD-B414-D857213FC7A2}"/>
            </ac:spMkLst>
          </pc:spChg>
          <pc:spChg chg="mod">
            <ac:chgData name="Pio Parma" userId="9f05d00a-e537-49d7-8068-10844eaca034" providerId="ADAL" clId="{AE5AB2BB-A16E-4143-8E58-03F5B98A59A3}" dt="2025-06-25T00:49:56.514" v="2182"/>
            <ac:spMkLst>
              <pc:docMk/>
              <pc:sldMasterMk cId="2836490435" sldId="2147483648"/>
              <pc:sldLayoutMk cId="669102541" sldId="2147483675"/>
              <ac:spMk id="10" creationId="{E48C28C1-455E-4BEB-AA3B-64852673EE1D}"/>
            </ac:spMkLst>
          </pc:spChg>
          <pc:spChg chg="mod">
            <ac:chgData name="Pio Parma" userId="9f05d00a-e537-49d7-8068-10844eaca034" providerId="ADAL" clId="{AE5AB2BB-A16E-4143-8E58-03F5B98A59A3}" dt="2025-06-25T00:49:56.514" v="2182"/>
            <ac:spMkLst>
              <pc:docMk/>
              <pc:sldMasterMk cId="2836490435" sldId="2147483648"/>
              <pc:sldLayoutMk cId="669102541" sldId="2147483675"/>
              <ac:spMk id="11" creationId="{2D942B9A-A55E-4682-A543-6D063B114899}"/>
            </ac:spMkLst>
          </pc:spChg>
          <pc:spChg chg="mod">
            <ac:chgData name="Pio Parma" userId="9f05d00a-e537-49d7-8068-10844eaca034" providerId="ADAL" clId="{AE5AB2BB-A16E-4143-8E58-03F5B98A59A3}" dt="2025-06-25T00:49:56.514" v="2182"/>
            <ac:spMkLst>
              <pc:docMk/>
              <pc:sldMasterMk cId="2836490435" sldId="2147483648"/>
              <pc:sldLayoutMk cId="669102541" sldId="2147483675"/>
              <ac:spMk id="12" creationId="{23C36DDE-09C7-41CB-9CBE-B45153495ED5}"/>
            </ac:spMkLst>
          </pc:spChg>
          <pc:spChg chg="mod">
            <ac:chgData name="Pio Parma" userId="9f05d00a-e537-49d7-8068-10844eaca034" providerId="ADAL" clId="{AE5AB2BB-A16E-4143-8E58-03F5B98A59A3}" dt="2025-06-25T00:49:56.514" v="2182"/>
            <ac:spMkLst>
              <pc:docMk/>
              <pc:sldMasterMk cId="2836490435" sldId="2147483648"/>
              <pc:sldLayoutMk cId="669102541" sldId="2147483675"/>
              <ac:spMk id="16" creationId="{4ED0E4C7-47E5-4FB6-807B-90C3A58DB331}"/>
            </ac:spMkLst>
          </pc:spChg>
          <pc:picChg chg="mod">
            <ac:chgData name="Pio Parma" userId="9f05d00a-e537-49d7-8068-10844eaca034" providerId="ADAL" clId="{AE5AB2BB-A16E-4143-8E58-03F5B98A59A3}" dt="2025-06-25T00:49:56.514" v="2182"/>
            <ac:picMkLst>
              <pc:docMk/>
              <pc:sldMasterMk cId="2836490435" sldId="2147483648"/>
              <pc:sldLayoutMk cId="669102541" sldId="2147483675"/>
              <ac:picMk id="14" creationId="{119B2E5F-B3AB-4C64-9217-650FE577EDC4}"/>
            </ac:picMkLst>
          </pc:picChg>
          <pc:picChg chg="mod">
            <ac:chgData name="Pio Parma" userId="9f05d00a-e537-49d7-8068-10844eaca034" providerId="ADAL" clId="{AE5AB2BB-A16E-4143-8E58-03F5B98A59A3}" dt="2025-06-25T00:49:56.514" v="2182"/>
            <ac:picMkLst>
              <pc:docMk/>
              <pc:sldMasterMk cId="2836490435" sldId="2147483648"/>
              <pc:sldLayoutMk cId="669102541" sldId="2147483675"/>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2836490435" sldId="2147483648"/>
            <pc:sldLayoutMk cId="4076467368" sldId="2147483678"/>
          </pc:sldLayoutMkLst>
          <pc:spChg chg="mod">
            <ac:chgData name="Pio Parma" userId="9f05d00a-e537-49d7-8068-10844eaca034" providerId="ADAL" clId="{AE5AB2BB-A16E-4143-8E58-03F5B98A59A3}" dt="2025-06-25T00:49:56.514" v="2182"/>
            <ac:spMkLst>
              <pc:docMk/>
              <pc:sldMasterMk cId="2836490435" sldId="2147483648"/>
              <pc:sldLayoutMk cId="4076467368" sldId="2147483678"/>
              <ac:spMk id="4" creationId="{A513269F-8769-4D15-BDFB-860623E861C9}"/>
            </ac:spMkLst>
          </pc:spChg>
          <pc:cxnChg chg="mod">
            <ac:chgData name="Pio Parma" userId="9f05d00a-e537-49d7-8068-10844eaca034" providerId="ADAL" clId="{AE5AB2BB-A16E-4143-8E58-03F5B98A59A3}" dt="2025-06-25T00:49:56.514" v="2182"/>
            <ac:cxnSpMkLst>
              <pc:docMk/>
              <pc:sldMasterMk cId="2836490435" sldId="2147483648"/>
              <pc:sldLayoutMk cId="4076467368" sldId="2147483678"/>
              <ac:cxnSpMk id="3" creationId="{480F71A9-D972-4409-A7C4-6DA65A4DD8BA}"/>
            </ac:cxnSpMkLst>
          </pc:cxnChg>
        </pc:sldLayoutChg>
        <pc:sldLayoutChg chg="modSp">
          <pc:chgData name="Pio Parma" userId="9f05d00a-e537-49d7-8068-10844eaca034" providerId="ADAL" clId="{AE5AB2BB-A16E-4143-8E58-03F5B98A59A3}" dt="2025-06-25T00:49:56.514" v="2182"/>
          <pc:sldLayoutMkLst>
            <pc:docMk/>
            <pc:sldMasterMk cId="2836490435" sldId="2147483648"/>
            <pc:sldLayoutMk cId="2371976308" sldId="2147483679"/>
          </pc:sldLayoutMkLst>
          <pc:spChg chg="mod">
            <ac:chgData name="Pio Parma" userId="9f05d00a-e537-49d7-8068-10844eaca034" providerId="ADAL" clId="{AE5AB2BB-A16E-4143-8E58-03F5B98A59A3}" dt="2025-06-25T00:49:56.514" v="2182"/>
            <ac:spMkLst>
              <pc:docMk/>
              <pc:sldMasterMk cId="2836490435" sldId="2147483648"/>
              <pc:sldLayoutMk cId="2371976308" sldId="2147483679"/>
              <ac:spMk id="2" creationId="{AD11B1C0-E831-460E-B679-473C507CE8AF}"/>
            </ac:spMkLst>
          </pc:spChg>
          <pc:spChg chg="mod">
            <ac:chgData name="Pio Parma" userId="9f05d00a-e537-49d7-8068-10844eaca034" providerId="ADAL" clId="{AE5AB2BB-A16E-4143-8E58-03F5B98A59A3}" dt="2025-06-25T00:49:56.514" v="2182"/>
            <ac:spMkLst>
              <pc:docMk/>
              <pc:sldMasterMk cId="2836490435" sldId="2147483648"/>
              <pc:sldLayoutMk cId="2371976308" sldId="2147483679"/>
              <ac:spMk id="16" creationId="{4ED0E4C7-47E5-4FB6-807B-90C3A58DB331}"/>
            </ac:spMkLst>
          </pc:spChg>
          <pc:spChg chg="mod">
            <ac:chgData name="Pio Parma" userId="9f05d00a-e537-49d7-8068-10844eaca034" providerId="ADAL" clId="{AE5AB2BB-A16E-4143-8E58-03F5B98A59A3}" dt="2025-06-25T00:49:56.514" v="2182"/>
            <ac:spMkLst>
              <pc:docMk/>
              <pc:sldMasterMk cId="2836490435" sldId="2147483648"/>
              <pc:sldLayoutMk cId="2371976308" sldId="2147483679"/>
              <ac:spMk id="19" creationId="{4BE889EA-BA37-4F96-B04C-15487D8FAE5F}"/>
            </ac:spMkLst>
          </pc:spChg>
          <pc:picChg chg="mod">
            <ac:chgData name="Pio Parma" userId="9f05d00a-e537-49d7-8068-10844eaca034" providerId="ADAL" clId="{AE5AB2BB-A16E-4143-8E58-03F5B98A59A3}" dt="2025-06-25T00:49:56.514" v="2182"/>
            <ac:picMkLst>
              <pc:docMk/>
              <pc:sldMasterMk cId="2836490435" sldId="2147483648"/>
              <pc:sldLayoutMk cId="2371976308" sldId="2147483679"/>
              <ac:picMk id="15" creationId="{212FBF0D-C989-41AA-A45F-208D7798742B}"/>
            </ac:picMkLst>
          </pc:picChg>
          <pc:picChg chg="mod">
            <ac:chgData name="Pio Parma" userId="9f05d00a-e537-49d7-8068-10844eaca034" providerId="ADAL" clId="{AE5AB2BB-A16E-4143-8E58-03F5B98A59A3}" dt="2025-06-25T00:49:56.514" v="2182"/>
            <ac:picMkLst>
              <pc:docMk/>
              <pc:sldMasterMk cId="2836490435" sldId="2147483648"/>
              <pc:sldLayoutMk cId="2371976308" sldId="2147483679"/>
              <ac:picMk id="17" creationId="{5BE25C0C-F577-4EE2-84EA-BCA174D52289}"/>
            </ac:picMkLst>
          </pc:picChg>
          <pc:picChg chg="mod">
            <ac:chgData name="Pio Parma" userId="9f05d00a-e537-49d7-8068-10844eaca034" providerId="ADAL" clId="{AE5AB2BB-A16E-4143-8E58-03F5B98A59A3}" dt="2025-06-25T00:49:56.514" v="2182"/>
            <ac:picMkLst>
              <pc:docMk/>
              <pc:sldMasterMk cId="2836490435" sldId="2147483648"/>
              <pc:sldLayoutMk cId="2371976308" sldId="2147483679"/>
              <ac:picMk id="18" creationId="{3F3B73F4-0B4C-40E3-95F7-50E353363253}"/>
            </ac:picMkLst>
          </pc:picChg>
        </pc:sldLayoutChg>
        <pc:sldLayoutChg chg="modSp">
          <pc:chgData name="Pio Parma" userId="9f05d00a-e537-49d7-8068-10844eaca034" providerId="ADAL" clId="{AE5AB2BB-A16E-4143-8E58-03F5B98A59A3}" dt="2025-06-25T00:49:56.514" v="2182"/>
          <pc:sldLayoutMkLst>
            <pc:docMk/>
            <pc:sldMasterMk cId="2836490435" sldId="2147483648"/>
            <pc:sldLayoutMk cId="3033313669" sldId="2147483680"/>
          </pc:sldLayoutMkLst>
          <pc:spChg chg="mod">
            <ac:chgData name="Pio Parma" userId="9f05d00a-e537-49d7-8068-10844eaca034" providerId="ADAL" clId="{AE5AB2BB-A16E-4143-8E58-03F5B98A59A3}" dt="2025-06-25T00:49:56.514" v="2182"/>
            <ac:spMkLst>
              <pc:docMk/>
              <pc:sldMasterMk cId="2836490435" sldId="2147483648"/>
              <pc:sldLayoutMk cId="3033313669" sldId="2147483680"/>
              <ac:spMk id="2" creationId="{AD11B1C0-E831-460E-B679-473C507CE8AF}"/>
            </ac:spMkLst>
          </pc:spChg>
          <pc:spChg chg="mod">
            <ac:chgData name="Pio Parma" userId="9f05d00a-e537-49d7-8068-10844eaca034" providerId="ADAL" clId="{AE5AB2BB-A16E-4143-8E58-03F5B98A59A3}" dt="2025-06-25T00:49:56.514" v="2182"/>
            <ac:spMkLst>
              <pc:docMk/>
              <pc:sldMasterMk cId="2836490435" sldId="2147483648"/>
              <pc:sldLayoutMk cId="3033313669" sldId="2147483680"/>
              <ac:spMk id="8" creationId="{5A3C1401-D991-47A4-B594-8E5AC6BDF054}"/>
            </ac:spMkLst>
          </pc:spChg>
          <pc:spChg chg="mod">
            <ac:chgData name="Pio Parma" userId="9f05d00a-e537-49d7-8068-10844eaca034" providerId="ADAL" clId="{AE5AB2BB-A16E-4143-8E58-03F5B98A59A3}" dt="2025-06-25T00:49:56.514" v="2182"/>
            <ac:spMkLst>
              <pc:docMk/>
              <pc:sldMasterMk cId="2836490435" sldId="2147483648"/>
              <pc:sldLayoutMk cId="3033313669" sldId="2147483680"/>
              <ac:spMk id="16" creationId="{4ED0E4C7-47E5-4FB6-807B-90C3A58DB331}"/>
            </ac:spMkLst>
          </pc:spChg>
          <pc:picChg chg="mod">
            <ac:chgData name="Pio Parma" userId="9f05d00a-e537-49d7-8068-10844eaca034" providerId="ADAL" clId="{AE5AB2BB-A16E-4143-8E58-03F5B98A59A3}" dt="2025-06-25T00:49:56.514" v="2182"/>
            <ac:picMkLst>
              <pc:docMk/>
              <pc:sldMasterMk cId="2836490435" sldId="2147483648"/>
              <pc:sldLayoutMk cId="3033313669" sldId="2147483680"/>
              <ac:picMk id="15" creationId="{212FBF0D-C989-41AA-A45F-208D7798742B}"/>
            </ac:picMkLst>
          </pc:picChg>
          <pc:picChg chg="mod">
            <ac:chgData name="Pio Parma" userId="9f05d00a-e537-49d7-8068-10844eaca034" providerId="ADAL" clId="{AE5AB2BB-A16E-4143-8E58-03F5B98A59A3}" dt="2025-06-25T00:49:56.514" v="2182"/>
            <ac:picMkLst>
              <pc:docMk/>
              <pc:sldMasterMk cId="2836490435" sldId="2147483648"/>
              <pc:sldLayoutMk cId="3033313669" sldId="2147483680"/>
              <ac:picMk id="17" creationId="{5BE25C0C-F577-4EE2-84EA-BCA174D52289}"/>
            </ac:picMkLst>
          </pc:picChg>
          <pc:picChg chg="mod">
            <ac:chgData name="Pio Parma" userId="9f05d00a-e537-49d7-8068-10844eaca034" providerId="ADAL" clId="{AE5AB2BB-A16E-4143-8E58-03F5B98A59A3}" dt="2025-06-25T00:49:56.514" v="2182"/>
            <ac:picMkLst>
              <pc:docMk/>
              <pc:sldMasterMk cId="2836490435" sldId="2147483648"/>
              <pc:sldLayoutMk cId="3033313669" sldId="2147483680"/>
              <ac:picMk id="18" creationId="{3F3B73F4-0B4C-40E3-95F7-50E353363253}"/>
            </ac:picMkLst>
          </pc:picChg>
        </pc:sldLayoutChg>
        <pc:sldLayoutChg chg="modSp">
          <pc:chgData name="Pio Parma" userId="9f05d00a-e537-49d7-8068-10844eaca034" providerId="ADAL" clId="{AE5AB2BB-A16E-4143-8E58-03F5B98A59A3}" dt="2025-06-25T00:49:56.514" v="2182"/>
          <pc:sldLayoutMkLst>
            <pc:docMk/>
            <pc:sldMasterMk cId="2836490435" sldId="2147483648"/>
            <pc:sldLayoutMk cId="217852458" sldId="2147483688"/>
          </pc:sldLayoutMkLst>
          <pc:spChg chg="mod">
            <ac:chgData name="Pio Parma" userId="9f05d00a-e537-49d7-8068-10844eaca034" providerId="ADAL" clId="{AE5AB2BB-A16E-4143-8E58-03F5B98A59A3}" dt="2025-06-25T00:49:56.514" v="2182"/>
            <ac:spMkLst>
              <pc:docMk/>
              <pc:sldMasterMk cId="2836490435" sldId="2147483648"/>
              <pc:sldLayoutMk cId="217852458" sldId="2147483688"/>
              <ac:spMk id="2" creationId="{34B0247E-C23A-4A31-B60B-C6B02AC79597}"/>
            </ac:spMkLst>
          </pc:spChg>
          <pc:spChg chg="mod">
            <ac:chgData name="Pio Parma" userId="9f05d00a-e537-49d7-8068-10844eaca034" providerId="ADAL" clId="{AE5AB2BB-A16E-4143-8E58-03F5B98A59A3}" dt="2025-06-25T00:49:56.514" v="2182"/>
            <ac:spMkLst>
              <pc:docMk/>
              <pc:sldMasterMk cId="2836490435" sldId="2147483648"/>
              <pc:sldLayoutMk cId="217852458" sldId="2147483688"/>
              <ac:spMk id="6" creationId="{2997CE74-FC52-42EC-BC36-AA81E2E2126A}"/>
            </ac:spMkLst>
          </pc:spChg>
          <pc:graphicFrameChg chg="mod">
            <ac:chgData name="Pio Parma" userId="9f05d00a-e537-49d7-8068-10844eaca034" providerId="ADAL" clId="{AE5AB2BB-A16E-4143-8E58-03F5B98A59A3}" dt="2025-06-25T00:49:56.514" v="2182"/>
            <ac:graphicFrameMkLst>
              <pc:docMk/>
              <pc:sldMasterMk cId="2836490435" sldId="2147483648"/>
              <pc:sldLayoutMk cId="217852458" sldId="2147483688"/>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2836490435" sldId="2147483648"/>
            <pc:sldLayoutMk cId="2435549932" sldId="2147483689"/>
          </pc:sldLayoutMkLst>
          <pc:spChg chg="mod">
            <ac:chgData name="Pio Parma" userId="9f05d00a-e537-49d7-8068-10844eaca034" providerId="ADAL" clId="{AE5AB2BB-A16E-4143-8E58-03F5B98A59A3}" dt="2025-06-25T00:49:56.514" v="2182"/>
            <ac:spMkLst>
              <pc:docMk/>
              <pc:sldMasterMk cId="2836490435" sldId="2147483648"/>
              <pc:sldLayoutMk cId="2435549932" sldId="2147483689"/>
              <ac:spMk id="3" creationId="{00000000-0000-0000-0000-000000000000}"/>
            </ac:spMkLst>
          </pc:spChg>
          <pc:spChg chg="mod">
            <ac:chgData name="Pio Parma" userId="9f05d00a-e537-49d7-8068-10844eaca034" providerId="ADAL" clId="{AE5AB2BB-A16E-4143-8E58-03F5B98A59A3}" dt="2025-06-25T00:49:56.514" v="2182"/>
            <ac:spMkLst>
              <pc:docMk/>
              <pc:sldMasterMk cId="2836490435" sldId="2147483648"/>
              <pc:sldLayoutMk cId="2435549932" sldId="2147483689"/>
              <ac:spMk id="5" creationId="{E03CB189-36A0-410B-9D61-075B30C14D42}"/>
            </ac:spMkLst>
          </pc:spChg>
          <pc:picChg chg="mod">
            <ac:chgData name="Pio Parma" userId="9f05d00a-e537-49d7-8068-10844eaca034" providerId="ADAL" clId="{AE5AB2BB-A16E-4143-8E58-03F5B98A59A3}" dt="2025-06-25T00:49:56.514" v="2182"/>
            <ac:picMkLst>
              <pc:docMk/>
              <pc:sldMasterMk cId="2836490435" sldId="2147483648"/>
              <pc:sldLayoutMk cId="2435549932" sldId="2147483689"/>
              <ac:picMk id="4" creationId="{097C489D-B365-4A63-B8F6-B4DF74BAE691}"/>
            </ac:picMkLst>
          </pc:picChg>
        </pc:sldLayoutChg>
        <pc:sldLayoutChg chg="modSp">
          <pc:chgData name="Pio Parma" userId="9f05d00a-e537-49d7-8068-10844eaca034" providerId="ADAL" clId="{AE5AB2BB-A16E-4143-8E58-03F5B98A59A3}" dt="2025-06-25T00:49:56.514" v="2182"/>
          <pc:sldLayoutMkLst>
            <pc:docMk/>
            <pc:sldMasterMk cId="2836490435" sldId="2147483648"/>
            <pc:sldLayoutMk cId="2168603270" sldId="2147483691"/>
          </pc:sldLayoutMkLst>
          <pc:spChg chg="mod">
            <ac:chgData name="Pio Parma" userId="9f05d00a-e537-49d7-8068-10844eaca034" providerId="ADAL" clId="{AE5AB2BB-A16E-4143-8E58-03F5B98A59A3}" dt="2025-06-25T00:49:56.514" v="2182"/>
            <ac:spMkLst>
              <pc:docMk/>
              <pc:sldMasterMk cId="2836490435" sldId="2147483648"/>
              <pc:sldLayoutMk cId="2168603270" sldId="2147483691"/>
              <ac:spMk id="8" creationId="{00000000-0000-0000-0000-000000000000}"/>
            </ac:spMkLst>
          </pc:spChg>
          <pc:spChg chg="mod">
            <ac:chgData name="Pio Parma" userId="9f05d00a-e537-49d7-8068-10844eaca034" providerId="ADAL" clId="{AE5AB2BB-A16E-4143-8E58-03F5B98A59A3}" dt="2025-06-25T00:49:56.514" v="2182"/>
            <ac:spMkLst>
              <pc:docMk/>
              <pc:sldMasterMk cId="2836490435" sldId="2147483648"/>
              <pc:sldLayoutMk cId="2168603270" sldId="2147483691"/>
              <ac:spMk id="42" creationId="{00000000-0000-0000-0000-000000000000}"/>
            </ac:spMkLst>
          </pc:spChg>
          <pc:picChg chg="mod">
            <ac:chgData name="Pio Parma" userId="9f05d00a-e537-49d7-8068-10844eaca034" providerId="ADAL" clId="{AE5AB2BB-A16E-4143-8E58-03F5B98A59A3}" dt="2025-06-25T00:49:56.514" v="2182"/>
            <ac:picMkLst>
              <pc:docMk/>
              <pc:sldMasterMk cId="2836490435" sldId="2147483648"/>
              <pc:sldLayoutMk cId="2168603270" sldId="2147483691"/>
              <ac:picMk id="7"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2836490435" sldId="2147483648"/>
            <pc:sldLayoutMk cId="4143505879" sldId="2147484055"/>
          </pc:sldLayoutMkLst>
          <pc:spChg chg="mod">
            <ac:chgData name="Pio Parma" userId="9f05d00a-e537-49d7-8068-10844eaca034" providerId="ADAL" clId="{AE5AB2BB-A16E-4143-8E58-03F5B98A59A3}" dt="2025-06-25T00:49:56.514" v="2182"/>
            <ac:spMkLst>
              <pc:docMk/>
              <pc:sldMasterMk cId="2836490435" sldId="2147483648"/>
              <pc:sldLayoutMk cId="4143505879" sldId="2147484055"/>
              <ac:spMk id="8" creationId="{C2BA107F-013F-4A8B-A41A-1FAC206EA0E0}"/>
            </ac:spMkLst>
          </pc:spChg>
          <pc:graphicFrameChg chg="mod">
            <ac:chgData name="Pio Parma" userId="9f05d00a-e537-49d7-8068-10844eaca034" providerId="ADAL" clId="{AE5AB2BB-A16E-4143-8E58-03F5B98A59A3}" dt="2025-06-25T00:49:56.514" v="2182"/>
            <ac:graphicFrameMkLst>
              <pc:docMk/>
              <pc:sldMasterMk cId="2836490435" sldId="2147483648"/>
              <pc:sldLayoutMk cId="4143505879" sldId="2147484055"/>
              <ac:graphicFrameMk id="4" creationId="{94C82428-55DE-4FD0-9741-C26246591EE0}"/>
            </ac:graphicFrameMkLst>
          </pc:graphicFrameChg>
        </pc:sldLayoutChg>
        <pc:sldLayoutChg chg="modSp">
          <pc:chgData name="Pio Parma" userId="9f05d00a-e537-49d7-8068-10844eaca034" providerId="ADAL" clId="{AE5AB2BB-A16E-4143-8E58-03F5B98A59A3}" dt="2025-06-25T00:49:56.514" v="2182"/>
          <pc:sldLayoutMkLst>
            <pc:docMk/>
            <pc:sldMasterMk cId="2836490435" sldId="2147483648"/>
            <pc:sldLayoutMk cId="3132176804" sldId="2147484057"/>
          </pc:sldLayoutMkLst>
          <pc:spChg chg="mod">
            <ac:chgData name="Pio Parma" userId="9f05d00a-e537-49d7-8068-10844eaca034" providerId="ADAL" clId="{AE5AB2BB-A16E-4143-8E58-03F5B98A59A3}" dt="2025-06-25T00:49:56.514" v="2182"/>
            <ac:spMkLst>
              <pc:docMk/>
              <pc:sldMasterMk cId="2836490435" sldId="2147483648"/>
              <pc:sldLayoutMk cId="3132176804" sldId="2147484057"/>
              <ac:spMk id="8" creationId="{00000000-0000-0000-0000-000000000000}"/>
            </ac:spMkLst>
          </pc:spChg>
          <pc:spChg chg="mod">
            <ac:chgData name="Pio Parma" userId="9f05d00a-e537-49d7-8068-10844eaca034" providerId="ADAL" clId="{AE5AB2BB-A16E-4143-8E58-03F5B98A59A3}" dt="2025-06-25T00:49:56.514" v="2182"/>
            <ac:spMkLst>
              <pc:docMk/>
              <pc:sldMasterMk cId="2836490435" sldId="2147483648"/>
              <pc:sldLayoutMk cId="3132176804" sldId="2147484057"/>
              <ac:spMk id="9" creationId="{00000000-0000-0000-0000-000000000000}"/>
            </ac:spMkLst>
          </pc:spChg>
          <pc:cxnChg chg="mod">
            <ac:chgData name="Pio Parma" userId="9f05d00a-e537-49d7-8068-10844eaca034" providerId="ADAL" clId="{AE5AB2BB-A16E-4143-8E58-03F5B98A59A3}" dt="2025-06-25T00:49:56.514" v="2182"/>
            <ac:cxnSpMkLst>
              <pc:docMk/>
              <pc:sldMasterMk cId="2836490435" sldId="2147483648"/>
              <pc:sldLayoutMk cId="3132176804" sldId="2147484057"/>
              <ac:cxnSpMk id="4" creationId="{B3FA94F2-F432-4074-80C8-0476AC6F63D2}"/>
            </ac:cxnSpMkLst>
          </pc:cxnChg>
        </pc:sldLayoutChg>
        <pc:sldLayoutChg chg="modSp">
          <pc:chgData name="Pio Parma" userId="9f05d00a-e537-49d7-8068-10844eaca034" providerId="ADAL" clId="{AE5AB2BB-A16E-4143-8E58-03F5B98A59A3}" dt="2025-06-25T00:49:56.514" v="2182"/>
          <pc:sldLayoutMkLst>
            <pc:docMk/>
            <pc:sldMasterMk cId="2836490435" sldId="2147483648"/>
            <pc:sldLayoutMk cId="2799977380" sldId="2147484059"/>
          </pc:sldLayoutMkLst>
          <pc:spChg chg="mod">
            <ac:chgData name="Pio Parma" userId="9f05d00a-e537-49d7-8068-10844eaca034" providerId="ADAL" clId="{AE5AB2BB-A16E-4143-8E58-03F5B98A59A3}" dt="2025-06-25T00:49:56.514" v="2182"/>
            <ac:spMkLst>
              <pc:docMk/>
              <pc:sldMasterMk cId="2836490435" sldId="2147483648"/>
              <pc:sldLayoutMk cId="2799977380" sldId="2147484059"/>
              <ac:spMk id="2" creationId="{AD11B1C0-E831-460E-B679-473C507CE8AF}"/>
            </ac:spMkLst>
          </pc:spChg>
          <pc:spChg chg="mod">
            <ac:chgData name="Pio Parma" userId="9f05d00a-e537-49d7-8068-10844eaca034" providerId="ADAL" clId="{AE5AB2BB-A16E-4143-8E58-03F5B98A59A3}" dt="2025-06-25T00:49:56.514" v="2182"/>
            <ac:spMkLst>
              <pc:docMk/>
              <pc:sldMasterMk cId="2836490435" sldId="2147483648"/>
              <pc:sldLayoutMk cId="2799977380" sldId="2147484059"/>
              <ac:spMk id="9" creationId="{C381A194-FD88-4937-AD2C-F0D70BAFD686}"/>
            </ac:spMkLst>
          </pc:spChg>
          <pc:spChg chg="mod">
            <ac:chgData name="Pio Parma" userId="9f05d00a-e537-49d7-8068-10844eaca034" providerId="ADAL" clId="{AE5AB2BB-A16E-4143-8E58-03F5B98A59A3}" dt="2025-06-25T00:49:56.514" v="2182"/>
            <ac:spMkLst>
              <pc:docMk/>
              <pc:sldMasterMk cId="2836490435" sldId="2147483648"/>
              <pc:sldLayoutMk cId="2799977380" sldId="2147484059"/>
              <ac:spMk id="10" creationId="{E48C28C1-455E-4BEB-AA3B-64852673EE1D}"/>
            </ac:spMkLst>
          </pc:spChg>
          <pc:spChg chg="mod">
            <ac:chgData name="Pio Parma" userId="9f05d00a-e537-49d7-8068-10844eaca034" providerId="ADAL" clId="{AE5AB2BB-A16E-4143-8E58-03F5B98A59A3}" dt="2025-06-25T00:49:56.514" v="2182"/>
            <ac:spMkLst>
              <pc:docMk/>
              <pc:sldMasterMk cId="2836490435" sldId="2147483648"/>
              <pc:sldLayoutMk cId="2799977380" sldId="2147484059"/>
              <ac:spMk id="11" creationId="{2D942B9A-A55E-4682-A543-6D063B114899}"/>
            </ac:spMkLst>
          </pc:spChg>
          <pc:spChg chg="mod">
            <ac:chgData name="Pio Parma" userId="9f05d00a-e537-49d7-8068-10844eaca034" providerId="ADAL" clId="{AE5AB2BB-A16E-4143-8E58-03F5B98A59A3}" dt="2025-06-25T00:49:56.514" v="2182"/>
            <ac:spMkLst>
              <pc:docMk/>
              <pc:sldMasterMk cId="2836490435" sldId="2147483648"/>
              <pc:sldLayoutMk cId="2799977380" sldId="2147484059"/>
              <ac:spMk id="12" creationId="{23C36DDE-09C7-41CB-9CBE-B45153495ED5}"/>
            </ac:spMkLst>
          </pc:spChg>
          <pc:spChg chg="mod">
            <ac:chgData name="Pio Parma" userId="9f05d00a-e537-49d7-8068-10844eaca034" providerId="ADAL" clId="{AE5AB2BB-A16E-4143-8E58-03F5B98A59A3}" dt="2025-06-25T00:49:56.514" v="2182"/>
            <ac:spMkLst>
              <pc:docMk/>
              <pc:sldMasterMk cId="2836490435" sldId="2147483648"/>
              <pc:sldLayoutMk cId="2799977380" sldId="2147484059"/>
              <ac:spMk id="13" creationId="{63D91A6B-A4AD-471F-802C-625681E21BF9}"/>
            </ac:spMkLst>
          </pc:spChg>
          <pc:spChg chg="mod">
            <ac:chgData name="Pio Parma" userId="9f05d00a-e537-49d7-8068-10844eaca034" providerId="ADAL" clId="{AE5AB2BB-A16E-4143-8E58-03F5B98A59A3}" dt="2025-06-25T00:49:56.514" v="2182"/>
            <ac:spMkLst>
              <pc:docMk/>
              <pc:sldMasterMk cId="2836490435" sldId="2147483648"/>
              <pc:sldLayoutMk cId="2799977380" sldId="2147484059"/>
              <ac:spMk id="16" creationId="{4ED0E4C7-47E5-4FB6-807B-90C3A58DB331}"/>
            </ac:spMkLst>
          </pc:spChg>
          <pc:picChg chg="mod">
            <ac:chgData name="Pio Parma" userId="9f05d00a-e537-49d7-8068-10844eaca034" providerId="ADAL" clId="{AE5AB2BB-A16E-4143-8E58-03F5B98A59A3}" dt="2025-06-25T00:49:56.514" v="2182"/>
            <ac:picMkLst>
              <pc:docMk/>
              <pc:sldMasterMk cId="2836490435" sldId="2147483648"/>
              <pc:sldLayoutMk cId="2799977380" sldId="2147484059"/>
              <ac:picMk id="14" creationId="{119B2E5F-B3AB-4C64-9217-650FE577EDC4}"/>
            </ac:picMkLst>
          </pc:picChg>
          <pc:picChg chg="mod">
            <ac:chgData name="Pio Parma" userId="9f05d00a-e537-49d7-8068-10844eaca034" providerId="ADAL" clId="{AE5AB2BB-A16E-4143-8E58-03F5B98A59A3}" dt="2025-06-25T00:49:56.514" v="2182"/>
            <ac:picMkLst>
              <pc:docMk/>
              <pc:sldMasterMk cId="2836490435" sldId="2147483648"/>
              <pc:sldLayoutMk cId="2799977380" sldId="2147484059"/>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2836490435" sldId="2147483648"/>
            <pc:sldLayoutMk cId="1125225604" sldId="2147484060"/>
          </pc:sldLayoutMkLst>
          <pc:spChg chg="mod">
            <ac:chgData name="Pio Parma" userId="9f05d00a-e537-49d7-8068-10844eaca034" providerId="ADAL" clId="{AE5AB2BB-A16E-4143-8E58-03F5B98A59A3}" dt="2025-06-25T00:49:56.514" v="2182"/>
            <ac:spMkLst>
              <pc:docMk/>
              <pc:sldMasterMk cId="2836490435" sldId="2147483648"/>
              <pc:sldLayoutMk cId="1125225604" sldId="2147484060"/>
              <ac:spMk id="2" creationId="{AD11B1C0-E831-460E-B679-473C507CE8AF}"/>
            </ac:spMkLst>
          </pc:spChg>
          <pc:spChg chg="mod">
            <ac:chgData name="Pio Parma" userId="9f05d00a-e537-49d7-8068-10844eaca034" providerId="ADAL" clId="{AE5AB2BB-A16E-4143-8E58-03F5B98A59A3}" dt="2025-06-25T00:49:56.514" v="2182"/>
            <ac:spMkLst>
              <pc:docMk/>
              <pc:sldMasterMk cId="2836490435" sldId="2147483648"/>
              <pc:sldLayoutMk cId="1125225604" sldId="2147484060"/>
              <ac:spMk id="6" creationId="{EF52FC51-0662-4EDC-B14C-1634434B37E8}"/>
            </ac:spMkLst>
          </pc:spChg>
          <pc:spChg chg="mod">
            <ac:chgData name="Pio Parma" userId="9f05d00a-e537-49d7-8068-10844eaca034" providerId="ADAL" clId="{AE5AB2BB-A16E-4143-8E58-03F5B98A59A3}" dt="2025-06-25T00:49:56.514" v="2182"/>
            <ac:spMkLst>
              <pc:docMk/>
              <pc:sldMasterMk cId="2836490435" sldId="2147483648"/>
              <pc:sldLayoutMk cId="1125225604" sldId="2147484060"/>
              <ac:spMk id="8" creationId="{D6EB0F33-CCF1-46FD-B414-D857213FC7A2}"/>
            </ac:spMkLst>
          </pc:spChg>
          <pc:spChg chg="mod">
            <ac:chgData name="Pio Parma" userId="9f05d00a-e537-49d7-8068-10844eaca034" providerId="ADAL" clId="{AE5AB2BB-A16E-4143-8E58-03F5B98A59A3}" dt="2025-06-25T00:49:56.514" v="2182"/>
            <ac:spMkLst>
              <pc:docMk/>
              <pc:sldMasterMk cId="2836490435" sldId="2147483648"/>
              <pc:sldLayoutMk cId="1125225604" sldId="2147484060"/>
              <ac:spMk id="10" creationId="{E48C28C1-455E-4BEB-AA3B-64852673EE1D}"/>
            </ac:spMkLst>
          </pc:spChg>
          <pc:spChg chg="mod">
            <ac:chgData name="Pio Parma" userId="9f05d00a-e537-49d7-8068-10844eaca034" providerId="ADAL" clId="{AE5AB2BB-A16E-4143-8E58-03F5B98A59A3}" dt="2025-06-25T00:49:56.514" v="2182"/>
            <ac:spMkLst>
              <pc:docMk/>
              <pc:sldMasterMk cId="2836490435" sldId="2147483648"/>
              <pc:sldLayoutMk cId="1125225604" sldId="2147484060"/>
              <ac:spMk id="11" creationId="{2D942B9A-A55E-4682-A543-6D063B114899}"/>
            </ac:spMkLst>
          </pc:spChg>
          <pc:spChg chg="mod">
            <ac:chgData name="Pio Parma" userId="9f05d00a-e537-49d7-8068-10844eaca034" providerId="ADAL" clId="{AE5AB2BB-A16E-4143-8E58-03F5B98A59A3}" dt="2025-06-25T00:49:56.514" v="2182"/>
            <ac:spMkLst>
              <pc:docMk/>
              <pc:sldMasterMk cId="2836490435" sldId="2147483648"/>
              <pc:sldLayoutMk cId="1125225604" sldId="2147484060"/>
              <ac:spMk id="12" creationId="{23C36DDE-09C7-41CB-9CBE-B45153495ED5}"/>
            </ac:spMkLst>
          </pc:spChg>
          <pc:spChg chg="mod">
            <ac:chgData name="Pio Parma" userId="9f05d00a-e537-49d7-8068-10844eaca034" providerId="ADAL" clId="{AE5AB2BB-A16E-4143-8E58-03F5B98A59A3}" dt="2025-06-25T00:49:56.514" v="2182"/>
            <ac:spMkLst>
              <pc:docMk/>
              <pc:sldMasterMk cId="2836490435" sldId="2147483648"/>
              <pc:sldLayoutMk cId="1125225604" sldId="2147484060"/>
              <ac:spMk id="16" creationId="{4ED0E4C7-47E5-4FB6-807B-90C3A58DB331}"/>
            </ac:spMkLst>
          </pc:spChg>
          <pc:picChg chg="mod">
            <ac:chgData name="Pio Parma" userId="9f05d00a-e537-49d7-8068-10844eaca034" providerId="ADAL" clId="{AE5AB2BB-A16E-4143-8E58-03F5B98A59A3}" dt="2025-06-25T00:49:56.514" v="2182"/>
            <ac:picMkLst>
              <pc:docMk/>
              <pc:sldMasterMk cId="2836490435" sldId="2147483648"/>
              <pc:sldLayoutMk cId="1125225604" sldId="2147484060"/>
              <ac:picMk id="14" creationId="{119B2E5F-B3AB-4C64-9217-650FE577EDC4}"/>
            </ac:picMkLst>
          </pc:picChg>
          <pc:picChg chg="mod">
            <ac:chgData name="Pio Parma" userId="9f05d00a-e537-49d7-8068-10844eaca034" providerId="ADAL" clId="{AE5AB2BB-A16E-4143-8E58-03F5B98A59A3}" dt="2025-06-25T00:49:56.514" v="2182"/>
            <ac:picMkLst>
              <pc:docMk/>
              <pc:sldMasterMk cId="2836490435" sldId="2147483648"/>
              <pc:sldLayoutMk cId="1125225604" sldId="2147484060"/>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2836490435" sldId="2147483648"/>
            <pc:sldLayoutMk cId="1468889357" sldId="2147484062"/>
          </pc:sldLayoutMkLst>
          <pc:spChg chg="mod">
            <ac:chgData name="Pio Parma" userId="9f05d00a-e537-49d7-8068-10844eaca034" providerId="ADAL" clId="{AE5AB2BB-A16E-4143-8E58-03F5B98A59A3}" dt="2025-06-25T00:49:56.514" v="2182"/>
            <ac:spMkLst>
              <pc:docMk/>
              <pc:sldMasterMk cId="2836490435" sldId="2147483648"/>
              <pc:sldLayoutMk cId="1468889357" sldId="2147484062"/>
              <ac:spMk id="2" creationId="{2EAA1E96-3ACD-440D-A18C-A09482691A3D}"/>
            </ac:spMkLst>
          </pc:spChg>
          <pc:spChg chg="mod">
            <ac:chgData name="Pio Parma" userId="9f05d00a-e537-49d7-8068-10844eaca034" providerId="ADAL" clId="{AE5AB2BB-A16E-4143-8E58-03F5B98A59A3}" dt="2025-06-25T00:49:56.514" v="2182"/>
            <ac:spMkLst>
              <pc:docMk/>
              <pc:sldMasterMk cId="2836490435" sldId="2147483648"/>
              <pc:sldLayoutMk cId="1468889357" sldId="2147484062"/>
              <ac:spMk id="3" creationId="{AC45BD15-6777-4476-8C91-F44A75D13201}"/>
            </ac:spMkLst>
          </pc:spChg>
        </pc:sldLayoutChg>
        <pc:sldLayoutChg chg="modSp">
          <pc:chgData name="Pio Parma" userId="9f05d00a-e537-49d7-8068-10844eaca034" providerId="ADAL" clId="{AE5AB2BB-A16E-4143-8E58-03F5B98A59A3}" dt="2025-06-25T00:49:56.514" v="2182"/>
          <pc:sldLayoutMkLst>
            <pc:docMk/>
            <pc:sldMasterMk cId="2836490435" sldId="2147483648"/>
            <pc:sldLayoutMk cId="2085145052" sldId="2147484063"/>
          </pc:sldLayoutMkLst>
          <pc:spChg chg="mod">
            <ac:chgData name="Pio Parma" userId="9f05d00a-e537-49d7-8068-10844eaca034" providerId="ADAL" clId="{AE5AB2BB-A16E-4143-8E58-03F5B98A59A3}" dt="2025-06-25T00:49:56.514" v="2182"/>
            <ac:spMkLst>
              <pc:docMk/>
              <pc:sldMasterMk cId="2836490435" sldId="2147483648"/>
              <pc:sldLayoutMk cId="2085145052" sldId="2147484063"/>
              <ac:spMk id="12" creationId="{00000000-0000-0000-0000-000000000000}"/>
            </ac:spMkLst>
          </pc:spChg>
          <pc:spChg chg="mod">
            <ac:chgData name="Pio Parma" userId="9f05d00a-e537-49d7-8068-10844eaca034" providerId="ADAL" clId="{AE5AB2BB-A16E-4143-8E58-03F5B98A59A3}" dt="2025-06-25T00:49:56.514" v="2182"/>
            <ac:spMkLst>
              <pc:docMk/>
              <pc:sldMasterMk cId="2836490435" sldId="2147483648"/>
              <pc:sldLayoutMk cId="2085145052" sldId="2147484063"/>
              <ac:spMk id="15" creationId="{BB5AFC65-E778-48CE-9D6D-3C6012A0DB4F}"/>
            </ac:spMkLst>
          </pc:spChg>
          <pc:spChg chg="mod">
            <ac:chgData name="Pio Parma" userId="9f05d00a-e537-49d7-8068-10844eaca034" providerId="ADAL" clId="{AE5AB2BB-A16E-4143-8E58-03F5B98A59A3}" dt="2025-06-25T00:49:56.514" v="2182"/>
            <ac:spMkLst>
              <pc:docMk/>
              <pc:sldMasterMk cId="2836490435" sldId="2147483648"/>
              <pc:sldLayoutMk cId="2085145052" sldId="2147484063"/>
              <ac:spMk id="68" creationId="{00000000-0000-0000-0000-000000000000}"/>
            </ac:spMkLst>
          </pc:spChg>
          <pc:picChg chg="mod">
            <ac:chgData name="Pio Parma" userId="9f05d00a-e537-49d7-8068-10844eaca034" providerId="ADAL" clId="{AE5AB2BB-A16E-4143-8E58-03F5B98A59A3}" dt="2025-06-25T00:49:56.514" v="2182"/>
            <ac:picMkLst>
              <pc:docMk/>
              <pc:sldMasterMk cId="2836490435" sldId="2147483648"/>
              <pc:sldLayoutMk cId="2085145052" sldId="2147484063"/>
              <ac:picMk id="13" creationId="{00000000-0000-0000-0000-000000000000}"/>
            </ac:picMkLst>
          </pc:picChg>
          <pc:picChg chg="mod">
            <ac:chgData name="Pio Parma" userId="9f05d00a-e537-49d7-8068-10844eaca034" providerId="ADAL" clId="{AE5AB2BB-A16E-4143-8E58-03F5B98A59A3}" dt="2025-06-25T00:49:56.514" v="2182"/>
            <ac:picMkLst>
              <pc:docMk/>
              <pc:sldMasterMk cId="2836490435" sldId="2147483648"/>
              <pc:sldLayoutMk cId="2085145052" sldId="2147484063"/>
              <ac:picMk id="60" creationId="{00000000-0000-0000-0000-000000000000}"/>
            </ac:picMkLst>
          </pc:picChg>
          <pc:picChg chg="mod">
            <ac:chgData name="Pio Parma" userId="9f05d00a-e537-49d7-8068-10844eaca034" providerId="ADAL" clId="{AE5AB2BB-A16E-4143-8E58-03F5B98A59A3}" dt="2025-06-25T00:49:56.514" v="2182"/>
            <ac:picMkLst>
              <pc:docMk/>
              <pc:sldMasterMk cId="2836490435" sldId="2147483648"/>
              <pc:sldLayoutMk cId="2085145052" sldId="2147484063"/>
              <ac:picMk id="66" creationId="{00000000-0000-0000-0000-000000000000}"/>
            </ac:picMkLst>
          </pc:picChg>
        </pc:sldLayoutChg>
        <pc:sldLayoutChg chg="del">
          <pc:chgData name="Pio Parma" userId="9f05d00a-e537-49d7-8068-10844eaca034" providerId="ADAL" clId="{AE5AB2BB-A16E-4143-8E58-03F5B98A59A3}" dt="2025-06-25T00:11:35.403" v="750" actId="47"/>
          <pc:sldLayoutMkLst>
            <pc:docMk/>
            <pc:sldMasterMk cId="2836490435" sldId="2147483648"/>
            <pc:sldLayoutMk cId="560690662" sldId="2147484064"/>
          </pc:sldLayoutMkLst>
        </pc:sldLayoutChg>
        <pc:sldLayoutChg chg="del">
          <pc:chgData name="Pio Parma" userId="9f05d00a-e537-49d7-8068-10844eaca034" providerId="ADAL" clId="{AE5AB2BB-A16E-4143-8E58-03F5B98A59A3}" dt="2025-06-25T00:11:44.016" v="751" actId="47"/>
          <pc:sldLayoutMkLst>
            <pc:docMk/>
            <pc:sldMasterMk cId="2836490435" sldId="2147483648"/>
            <pc:sldLayoutMk cId="4150976888" sldId="2147484065"/>
          </pc:sldLayoutMkLst>
        </pc:sldLayoutChg>
        <pc:sldLayoutChg chg="modSp">
          <pc:chgData name="Pio Parma" userId="9f05d00a-e537-49d7-8068-10844eaca034" providerId="ADAL" clId="{AE5AB2BB-A16E-4143-8E58-03F5B98A59A3}" dt="2025-06-25T00:49:56.514" v="2182"/>
          <pc:sldLayoutMkLst>
            <pc:docMk/>
            <pc:sldMasterMk cId="2836490435" sldId="2147483648"/>
            <pc:sldLayoutMk cId="1372362640" sldId="2147484067"/>
          </pc:sldLayoutMkLst>
          <pc:spChg chg="mod">
            <ac:chgData name="Pio Parma" userId="9f05d00a-e537-49d7-8068-10844eaca034" providerId="ADAL" clId="{AE5AB2BB-A16E-4143-8E58-03F5B98A59A3}" dt="2025-06-25T00:49:56.514" v="2182"/>
            <ac:spMkLst>
              <pc:docMk/>
              <pc:sldMasterMk cId="2836490435" sldId="2147483648"/>
              <pc:sldLayoutMk cId="1372362640" sldId="2147484067"/>
              <ac:spMk id="2" creationId="{34B0247E-C23A-4A31-B60B-C6B02AC79597}"/>
            </ac:spMkLst>
          </pc:spChg>
          <pc:spChg chg="mod">
            <ac:chgData name="Pio Parma" userId="9f05d00a-e537-49d7-8068-10844eaca034" providerId="ADAL" clId="{AE5AB2BB-A16E-4143-8E58-03F5B98A59A3}" dt="2025-06-25T00:49:56.514" v="2182"/>
            <ac:spMkLst>
              <pc:docMk/>
              <pc:sldMasterMk cId="2836490435" sldId="2147483648"/>
              <pc:sldLayoutMk cId="1372362640" sldId="2147484067"/>
              <ac:spMk id="5" creationId="{004B5E75-9EA3-4549-AEDA-BA091BFEA31B}"/>
            </ac:spMkLst>
          </pc:spChg>
          <pc:spChg chg="mod">
            <ac:chgData name="Pio Parma" userId="9f05d00a-e537-49d7-8068-10844eaca034" providerId="ADAL" clId="{AE5AB2BB-A16E-4143-8E58-03F5B98A59A3}" dt="2025-06-25T00:49:56.514" v="2182"/>
            <ac:spMkLst>
              <pc:docMk/>
              <pc:sldMasterMk cId="2836490435" sldId="2147483648"/>
              <pc:sldLayoutMk cId="1372362640" sldId="2147484067"/>
              <ac:spMk id="6" creationId="{2997CE74-FC52-42EC-BC36-AA81E2E2126A}"/>
            </ac:spMkLst>
          </pc:spChg>
          <pc:graphicFrameChg chg="mod">
            <ac:chgData name="Pio Parma" userId="9f05d00a-e537-49d7-8068-10844eaca034" providerId="ADAL" clId="{AE5AB2BB-A16E-4143-8E58-03F5B98A59A3}" dt="2025-06-25T00:49:56.514" v="2182"/>
            <ac:graphicFrameMkLst>
              <pc:docMk/>
              <pc:sldMasterMk cId="2836490435" sldId="2147483648"/>
              <pc:sldLayoutMk cId="1372362640" sldId="2147484067"/>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2836490435" sldId="2147483648"/>
            <pc:sldLayoutMk cId="3901604177" sldId="2147484115"/>
          </pc:sldLayoutMkLst>
          <pc:spChg chg="mod">
            <ac:chgData name="Pio Parma" userId="9f05d00a-e537-49d7-8068-10844eaca034" providerId="ADAL" clId="{AE5AB2BB-A16E-4143-8E58-03F5B98A59A3}" dt="2025-06-25T00:49:56.514" v="2182"/>
            <ac:spMkLst>
              <pc:docMk/>
              <pc:sldMasterMk cId="2836490435" sldId="2147483648"/>
              <pc:sldLayoutMk cId="3901604177" sldId="2147484115"/>
              <ac:spMk id="2" creationId="{AD11B1C0-E831-460E-B679-473C507CE8AF}"/>
            </ac:spMkLst>
          </pc:spChg>
          <pc:spChg chg="mod">
            <ac:chgData name="Pio Parma" userId="9f05d00a-e537-49d7-8068-10844eaca034" providerId="ADAL" clId="{AE5AB2BB-A16E-4143-8E58-03F5B98A59A3}" dt="2025-06-25T00:49:56.514" v="2182"/>
            <ac:spMkLst>
              <pc:docMk/>
              <pc:sldMasterMk cId="2836490435" sldId="2147483648"/>
              <pc:sldLayoutMk cId="3901604177" sldId="2147484115"/>
              <ac:spMk id="11" creationId="{2D942B9A-A55E-4682-A543-6D063B114899}"/>
            </ac:spMkLst>
          </pc:spChg>
          <pc:spChg chg="mod">
            <ac:chgData name="Pio Parma" userId="9f05d00a-e537-49d7-8068-10844eaca034" providerId="ADAL" clId="{AE5AB2BB-A16E-4143-8E58-03F5B98A59A3}" dt="2025-06-25T00:49:56.514" v="2182"/>
            <ac:spMkLst>
              <pc:docMk/>
              <pc:sldMasterMk cId="2836490435" sldId="2147483648"/>
              <pc:sldLayoutMk cId="3901604177" sldId="2147484115"/>
              <ac:spMk id="12" creationId="{23C36DDE-09C7-41CB-9CBE-B45153495ED5}"/>
            </ac:spMkLst>
          </pc:spChg>
          <pc:spChg chg="mod">
            <ac:chgData name="Pio Parma" userId="9f05d00a-e537-49d7-8068-10844eaca034" providerId="ADAL" clId="{AE5AB2BB-A16E-4143-8E58-03F5B98A59A3}" dt="2025-06-25T00:49:56.514" v="2182"/>
            <ac:spMkLst>
              <pc:docMk/>
              <pc:sldMasterMk cId="2836490435" sldId="2147483648"/>
              <pc:sldLayoutMk cId="3901604177" sldId="2147484115"/>
              <ac:spMk id="16" creationId="{4ED0E4C7-47E5-4FB6-807B-90C3A58DB331}"/>
            </ac:spMkLst>
          </pc:spChg>
          <pc:spChg chg="mod">
            <ac:chgData name="Pio Parma" userId="9f05d00a-e537-49d7-8068-10844eaca034" providerId="ADAL" clId="{AE5AB2BB-A16E-4143-8E58-03F5B98A59A3}" dt="2025-06-25T00:49:56.514" v="2182"/>
            <ac:spMkLst>
              <pc:docMk/>
              <pc:sldMasterMk cId="2836490435" sldId="2147483648"/>
              <pc:sldLayoutMk cId="3901604177" sldId="2147484115"/>
              <ac:spMk id="22" creationId="{CD174A84-4DE6-6732-6181-3BA30FCEE9F7}"/>
            </ac:spMkLst>
          </pc:spChg>
          <pc:picChg chg="mod">
            <ac:chgData name="Pio Parma" userId="9f05d00a-e537-49d7-8068-10844eaca034" providerId="ADAL" clId="{AE5AB2BB-A16E-4143-8E58-03F5B98A59A3}" dt="2025-06-25T00:49:56.514" v="2182"/>
            <ac:picMkLst>
              <pc:docMk/>
              <pc:sldMasterMk cId="2836490435" sldId="2147483648"/>
              <pc:sldLayoutMk cId="3901604177" sldId="2147484115"/>
              <ac:picMk id="3" creationId="{470F3811-501E-367B-D1CE-79BD051BB1E4}"/>
            </ac:picMkLst>
          </pc:picChg>
          <pc:picChg chg="mod">
            <ac:chgData name="Pio Parma" userId="9f05d00a-e537-49d7-8068-10844eaca034" providerId="ADAL" clId="{AE5AB2BB-A16E-4143-8E58-03F5B98A59A3}" dt="2025-06-25T00:49:56.514" v="2182"/>
            <ac:picMkLst>
              <pc:docMk/>
              <pc:sldMasterMk cId="2836490435" sldId="2147483648"/>
              <pc:sldLayoutMk cId="3901604177" sldId="2147484115"/>
              <ac:picMk id="15" creationId="{212FBF0D-C989-41AA-A45F-208D7798742B}"/>
            </ac:picMkLst>
          </pc:picChg>
        </pc:sldLayoutChg>
        <pc:sldLayoutChg chg="del">
          <pc:chgData name="Pio Parma" userId="9f05d00a-e537-49d7-8068-10844eaca034" providerId="ADAL" clId="{AE5AB2BB-A16E-4143-8E58-03F5B98A59A3}" dt="2025-06-24T23:33:34.875" v="3" actId="47"/>
          <pc:sldLayoutMkLst>
            <pc:docMk/>
            <pc:sldMasterMk cId="2836490435" sldId="2147483648"/>
            <pc:sldLayoutMk cId="197767884" sldId="2147484116"/>
          </pc:sldLayoutMkLst>
        </pc:sldLayoutChg>
        <pc:sldLayoutChg chg="modSp del">
          <pc:chgData name="Pio Parma" userId="9f05d00a-e537-49d7-8068-10844eaca034" providerId="ADAL" clId="{AE5AB2BB-A16E-4143-8E58-03F5B98A59A3}" dt="2025-06-25T00:51:25.224" v="2202" actId="47"/>
          <pc:sldLayoutMkLst>
            <pc:docMk/>
            <pc:sldMasterMk cId="2836490435" sldId="2147483648"/>
            <pc:sldLayoutMk cId="144528109" sldId="2147484131"/>
          </pc:sldLayoutMkLst>
          <pc:spChg chg="mod">
            <ac:chgData name="Pio Parma" userId="9f05d00a-e537-49d7-8068-10844eaca034" providerId="ADAL" clId="{AE5AB2BB-A16E-4143-8E58-03F5B98A59A3}" dt="2025-06-25T00:49:56.514" v="2182"/>
            <ac:spMkLst>
              <pc:docMk/>
              <pc:sldMasterMk cId="2836490435" sldId="2147483648"/>
              <pc:sldLayoutMk cId="144528109" sldId="2147484131"/>
              <ac:spMk id="2" creationId="{98DCC549-5BC4-BB64-84F5-D1D51F0E2075}"/>
            </ac:spMkLst>
          </pc:spChg>
          <pc:spChg chg="mod">
            <ac:chgData name="Pio Parma" userId="9f05d00a-e537-49d7-8068-10844eaca034" providerId="ADAL" clId="{AE5AB2BB-A16E-4143-8E58-03F5B98A59A3}" dt="2025-06-25T00:49:56.514" v="2182"/>
            <ac:spMkLst>
              <pc:docMk/>
              <pc:sldMasterMk cId="2836490435" sldId="2147483648"/>
              <pc:sldLayoutMk cId="144528109" sldId="2147484131"/>
              <ac:spMk id="6" creationId="{00000000-0000-0000-0000-000000000000}"/>
            </ac:spMkLst>
          </pc:spChg>
          <pc:spChg chg="mod">
            <ac:chgData name="Pio Parma" userId="9f05d00a-e537-49d7-8068-10844eaca034" providerId="ADAL" clId="{AE5AB2BB-A16E-4143-8E58-03F5B98A59A3}" dt="2025-06-25T00:49:56.514" v="2182"/>
            <ac:spMkLst>
              <pc:docMk/>
              <pc:sldMasterMk cId="2836490435" sldId="2147483648"/>
              <pc:sldLayoutMk cId="144528109" sldId="2147484131"/>
              <ac:spMk id="15" creationId="{00000000-0000-0000-0000-000000000000}"/>
            </ac:spMkLst>
          </pc:spChg>
        </pc:sldLayoutChg>
        <pc:sldLayoutChg chg="del">
          <pc:chgData name="Pio Parma" userId="9f05d00a-e537-49d7-8068-10844eaca034" providerId="ADAL" clId="{AE5AB2BB-A16E-4143-8E58-03F5B98A59A3}" dt="2025-06-25T00:39:45.785" v="2034" actId="2696"/>
          <pc:sldLayoutMkLst>
            <pc:docMk/>
            <pc:sldMasterMk cId="2836490435" sldId="2147483648"/>
            <pc:sldLayoutMk cId="2020954381" sldId="2147484131"/>
          </pc:sldLayoutMkLst>
        </pc:sldLayoutChg>
      </pc:sldMasterChg>
      <pc:sldMasterChg chg="modSp modSldLayout">
        <pc:chgData name="Pio Parma" userId="9f05d00a-e537-49d7-8068-10844eaca034" providerId="ADAL" clId="{AE5AB2BB-A16E-4143-8E58-03F5B98A59A3}" dt="2025-06-25T00:49:56.514" v="2182"/>
        <pc:sldMasterMkLst>
          <pc:docMk/>
          <pc:sldMasterMk cId="982166135" sldId="2147483828"/>
        </pc:sldMasterMkLst>
        <pc:spChg chg="mod">
          <ac:chgData name="Pio Parma" userId="9f05d00a-e537-49d7-8068-10844eaca034" providerId="ADAL" clId="{AE5AB2BB-A16E-4143-8E58-03F5B98A59A3}" dt="2025-06-25T00:49:56.514" v="2182"/>
          <ac:spMkLst>
            <pc:docMk/>
            <pc:sldMasterMk cId="982166135" sldId="2147483828"/>
            <ac:spMk id="4" creationId="{51AF4284-6C34-43A5-A2D3-3714A380BFE0}"/>
          </ac:spMkLst>
        </pc:spChg>
        <pc:spChg chg="mod">
          <ac:chgData name="Pio Parma" userId="9f05d00a-e537-49d7-8068-10844eaca034" providerId="ADAL" clId="{AE5AB2BB-A16E-4143-8E58-03F5B98A59A3}" dt="2025-06-25T00:49:56.514" v="2182"/>
          <ac:spMkLst>
            <pc:docMk/>
            <pc:sldMasterMk cId="982166135" sldId="2147483828"/>
            <ac:spMk id="5" creationId="{223B1B66-22C7-4D9B-9009-91B4BE9340C3}"/>
          </ac:spMkLst>
        </pc:spChg>
        <pc:spChg chg="mod">
          <ac:chgData name="Pio Parma" userId="9f05d00a-e537-49d7-8068-10844eaca034" providerId="ADAL" clId="{AE5AB2BB-A16E-4143-8E58-03F5B98A59A3}" dt="2025-06-25T00:49:56.514" v="2182"/>
          <ac:spMkLst>
            <pc:docMk/>
            <pc:sldMasterMk cId="982166135" sldId="2147483828"/>
            <ac:spMk id="15" creationId="{49832D1E-87FA-482C-A166-12681ADB4B36}"/>
          </ac:spMkLst>
        </pc:spChg>
        <pc:spChg chg="mod">
          <ac:chgData name="Pio Parma" userId="9f05d00a-e537-49d7-8068-10844eaca034" providerId="ADAL" clId="{AE5AB2BB-A16E-4143-8E58-03F5B98A59A3}" dt="2025-06-25T00:49:56.514" v="2182"/>
          <ac:spMkLst>
            <pc:docMk/>
            <pc:sldMasterMk cId="982166135" sldId="2147483828"/>
            <ac:spMk id="1033" creationId="{E3EA3DAB-BB25-4C0C-B7A9-7DAEF0B13306}"/>
          </ac:spMkLst>
        </pc:spChg>
        <pc:graphicFrameChg chg="mod">
          <ac:chgData name="Pio Parma" userId="9f05d00a-e537-49d7-8068-10844eaca034" providerId="ADAL" clId="{AE5AB2BB-A16E-4143-8E58-03F5B98A59A3}" dt="2025-06-25T00:49:56.514" v="2182"/>
          <ac:graphicFrameMkLst>
            <pc:docMk/>
            <pc:sldMasterMk cId="982166135" sldId="2147483828"/>
            <ac:graphicFrameMk id="3" creationId="{51E3A767-D8D3-4A34-BCBD-96D6C494F544}"/>
          </ac:graphicFrameMkLst>
        </pc:graphicFrameChg>
        <pc:picChg chg="mod">
          <ac:chgData name="Pio Parma" userId="9f05d00a-e537-49d7-8068-10844eaca034" providerId="ADAL" clId="{AE5AB2BB-A16E-4143-8E58-03F5B98A59A3}" dt="2025-06-25T00:49:56.514" v="2182"/>
          <ac:picMkLst>
            <pc:docMk/>
            <pc:sldMasterMk cId="982166135" sldId="2147483828"/>
            <ac:picMk id="6" creationId="{78A22B2E-110C-6630-3603-21584F9CDACB}"/>
          </ac:picMkLst>
        </pc:picChg>
        <pc:picChg chg="mod">
          <ac:chgData name="Pio Parma" userId="9f05d00a-e537-49d7-8068-10844eaca034" providerId="ADAL" clId="{AE5AB2BB-A16E-4143-8E58-03F5B98A59A3}" dt="2025-06-25T00:49:56.514" v="2182"/>
          <ac:picMkLst>
            <pc:docMk/>
            <pc:sldMasterMk cId="982166135" sldId="2147483828"/>
            <ac:picMk id="14" creationId="{168F8B35-366F-48D5-AE67-32103A49E414}"/>
          </ac:picMkLst>
        </pc:picChg>
        <pc:cxnChg chg="mod">
          <ac:chgData name="Pio Parma" userId="9f05d00a-e537-49d7-8068-10844eaca034" providerId="ADAL" clId="{AE5AB2BB-A16E-4143-8E58-03F5B98A59A3}" dt="2025-06-25T00:49:56.514" v="2182"/>
          <ac:cxnSpMkLst>
            <pc:docMk/>
            <pc:sldMasterMk cId="982166135" sldId="2147483828"/>
            <ac:cxnSpMk id="13" creationId="{C3CCA961-8D61-45BA-B27F-FB2DFAF75489}"/>
          </ac:cxnSpMkLst>
        </pc:cxnChg>
        <pc:sldLayoutChg chg="modSp">
          <pc:chgData name="Pio Parma" userId="9f05d00a-e537-49d7-8068-10844eaca034" providerId="ADAL" clId="{AE5AB2BB-A16E-4143-8E58-03F5B98A59A3}" dt="2025-06-25T00:49:56.514" v="2182"/>
          <pc:sldLayoutMkLst>
            <pc:docMk/>
            <pc:sldMasterMk cId="982166135" sldId="2147483828"/>
            <pc:sldLayoutMk cId="4018020031" sldId="2147483829"/>
          </pc:sldLayoutMkLst>
          <pc:spChg chg="mod">
            <ac:chgData name="Pio Parma" userId="9f05d00a-e537-49d7-8068-10844eaca034" providerId="ADAL" clId="{AE5AB2BB-A16E-4143-8E58-03F5B98A59A3}" dt="2025-06-25T00:49:56.514" v="2182"/>
            <ac:spMkLst>
              <pc:docMk/>
              <pc:sldMasterMk cId="982166135" sldId="2147483828"/>
              <pc:sldLayoutMk cId="4018020031" sldId="2147483829"/>
              <ac:spMk id="2" creationId="{AD11B1C0-E831-460E-B679-473C507CE8AF}"/>
            </ac:spMkLst>
          </pc:spChg>
          <pc:spChg chg="mod">
            <ac:chgData name="Pio Parma" userId="9f05d00a-e537-49d7-8068-10844eaca034" providerId="ADAL" clId="{AE5AB2BB-A16E-4143-8E58-03F5B98A59A3}" dt="2025-06-25T00:49:56.514" v="2182"/>
            <ac:spMkLst>
              <pc:docMk/>
              <pc:sldMasterMk cId="982166135" sldId="2147483828"/>
              <pc:sldLayoutMk cId="4018020031" sldId="2147483829"/>
              <ac:spMk id="10" creationId="{E48C28C1-455E-4BEB-AA3B-64852673EE1D}"/>
            </ac:spMkLst>
          </pc:spChg>
          <pc:spChg chg="mod">
            <ac:chgData name="Pio Parma" userId="9f05d00a-e537-49d7-8068-10844eaca034" providerId="ADAL" clId="{AE5AB2BB-A16E-4143-8E58-03F5B98A59A3}" dt="2025-06-25T00:49:56.514" v="2182"/>
            <ac:spMkLst>
              <pc:docMk/>
              <pc:sldMasterMk cId="982166135" sldId="2147483828"/>
              <pc:sldLayoutMk cId="4018020031" sldId="2147483829"/>
              <ac:spMk id="11" creationId="{2D942B9A-A55E-4682-A543-6D063B114899}"/>
            </ac:spMkLst>
          </pc:spChg>
          <pc:spChg chg="mod">
            <ac:chgData name="Pio Parma" userId="9f05d00a-e537-49d7-8068-10844eaca034" providerId="ADAL" clId="{AE5AB2BB-A16E-4143-8E58-03F5B98A59A3}" dt="2025-06-25T00:49:56.514" v="2182"/>
            <ac:spMkLst>
              <pc:docMk/>
              <pc:sldMasterMk cId="982166135" sldId="2147483828"/>
              <pc:sldLayoutMk cId="4018020031" sldId="2147483829"/>
              <ac:spMk id="12" creationId="{23C36DDE-09C7-41CB-9CBE-B45153495ED5}"/>
            </ac:spMkLst>
          </pc:spChg>
          <pc:spChg chg="mod">
            <ac:chgData name="Pio Parma" userId="9f05d00a-e537-49d7-8068-10844eaca034" providerId="ADAL" clId="{AE5AB2BB-A16E-4143-8E58-03F5B98A59A3}" dt="2025-06-25T00:49:56.514" v="2182"/>
            <ac:spMkLst>
              <pc:docMk/>
              <pc:sldMasterMk cId="982166135" sldId="2147483828"/>
              <pc:sldLayoutMk cId="4018020031" sldId="2147483829"/>
              <ac:spMk id="16" creationId="{4ED0E4C7-47E5-4FB6-807B-90C3A58DB331}"/>
            </ac:spMkLst>
          </pc:spChg>
          <pc:picChg chg="mod">
            <ac:chgData name="Pio Parma" userId="9f05d00a-e537-49d7-8068-10844eaca034" providerId="ADAL" clId="{AE5AB2BB-A16E-4143-8E58-03F5B98A59A3}" dt="2025-06-25T00:49:56.514" v="2182"/>
            <ac:picMkLst>
              <pc:docMk/>
              <pc:sldMasterMk cId="982166135" sldId="2147483828"/>
              <pc:sldLayoutMk cId="4018020031" sldId="2147483829"/>
              <ac:picMk id="3" creationId="{AF1AA52D-1F29-BA58-1F84-7DCA05BA6A29}"/>
            </ac:picMkLst>
          </pc:picChg>
          <pc:picChg chg="mod">
            <ac:chgData name="Pio Parma" userId="9f05d00a-e537-49d7-8068-10844eaca034" providerId="ADAL" clId="{AE5AB2BB-A16E-4143-8E58-03F5B98A59A3}" dt="2025-06-25T00:49:56.514" v="2182"/>
            <ac:picMkLst>
              <pc:docMk/>
              <pc:sldMasterMk cId="982166135" sldId="2147483828"/>
              <pc:sldLayoutMk cId="4018020031" sldId="2147483829"/>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982166135" sldId="2147483828"/>
            <pc:sldLayoutMk cId="2372654990" sldId="2147483830"/>
          </pc:sldLayoutMkLst>
          <pc:spChg chg="mod">
            <ac:chgData name="Pio Parma" userId="9f05d00a-e537-49d7-8068-10844eaca034" providerId="ADAL" clId="{AE5AB2BB-A16E-4143-8E58-03F5B98A59A3}" dt="2025-06-25T00:49:56.514" v="2182"/>
            <ac:spMkLst>
              <pc:docMk/>
              <pc:sldMasterMk cId="982166135" sldId="2147483828"/>
              <pc:sldLayoutMk cId="2372654990" sldId="2147483830"/>
              <ac:spMk id="2" creationId="{34B0247E-C23A-4A31-B60B-C6B02AC79597}"/>
            </ac:spMkLst>
          </pc:spChg>
        </pc:sldLayoutChg>
        <pc:sldLayoutChg chg="modSp">
          <pc:chgData name="Pio Parma" userId="9f05d00a-e537-49d7-8068-10844eaca034" providerId="ADAL" clId="{AE5AB2BB-A16E-4143-8E58-03F5B98A59A3}" dt="2025-06-25T00:49:56.514" v="2182"/>
          <pc:sldLayoutMkLst>
            <pc:docMk/>
            <pc:sldMasterMk cId="982166135" sldId="2147483828"/>
            <pc:sldLayoutMk cId="2594228200" sldId="2147483831"/>
          </pc:sldLayoutMkLst>
          <pc:spChg chg="mod">
            <ac:chgData name="Pio Parma" userId="9f05d00a-e537-49d7-8068-10844eaca034" providerId="ADAL" clId="{AE5AB2BB-A16E-4143-8E58-03F5B98A59A3}" dt="2025-06-25T00:49:56.514" v="2182"/>
            <ac:spMkLst>
              <pc:docMk/>
              <pc:sldMasterMk cId="982166135" sldId="2147483828"/>
              <pc:sldLayoutMk cId="2594228200" sldId="2147483831"/>
              <ac:spMk id="2" creationId="{34B0247E-C23A-4A31-B60B-C6B02AC79597}"/>
            </ac:spMkLst>
          </pc:spChg>
        </pc:sldLayoutChg>
        <pc:sldLayoutChg chg="modSp">
          <pc:chgData name="Pio Parma" userId="9f05d00a-e537-49d7-8068-10844eaca034" providerId="ADAL" clId="{AE5AB2BB-A16E-4143-8E58-03F5B98A59A3}" dt="2025-06-25T00:49:56.514" v="2182"/>
          <pc:sldLayoutMkLst>
            <pc:docMk/>
            <pc:sldMasterMk cId="982166135" sldId="2147483828"/>
            <pc:sldLayoutMk cId="1087082871" sldId="2147483832"/>
          </pc:sldLayoutMkLst>
          <pc:spChg chg="mod">
            <ac:chgData name="Pio Parma" userId="9f05d00a-e537-49d7-8068-10844eaca034" providerId="ADAL" clId="{AE5AB2BB-A16E-4143-8E58-03F5B98A59A3}" dt="2025-06-25T00:49:56.514" v="2182"/>
            <ac:spMkLst>
              <pc:docMk/>
              <pc:sldMasterMk cId="982166135" sldId="2147483828"/>
              <pc:sldLayoutMk cId="1087082871" sldId="2147483832"/>
              <ac:spMk id="2" creationId="{B20D817E-C4FA-4351-999F-7171C217DD33}"/>
            </ac:spMkLst>
          </pc:spChg>
        </pc:sldLayoutChg>
        <pc:sldLayoutChg chg="modSp">
          <pc:chgData name="Pio Parma" userId="9f05d00a-e537-49d7-8068-10844eaca034" providerId="ADAL" clId="{AE5AB2BB-A16E-4143-8E58-03F5B98A59A3}" dt="2025-06-25T00:49:56.514" v="2182"/>
          <pc:sldLayoutMkLst>
            <pc:docMk/>
            <pc:sldMasterMk cId="982166135" sldId="2147483828"/>
            <pc:sldLayoutMk cId="3472860910" sldId="2147483833"/>
          </pc:sldLayoutMkLst>
          <pc:spChg chg="mod">
            <ac:chgData name="Pio Parma" userId="9f05d00a-e537-49d7-8068-10844eaca034" providerId="ADAL" clId="{AE5AB2BB-A16E-4143-8E58-03F5B98A59A3}" dt="2025-06-25T00:49:56.514" v="2182"/>
            <ac:spMkLst>
              <pc:docMk/>
              <pc:sldMasterMk cId="982166135" sldId="2147483828"/>
              <pc:sldLayoutMk cId="3472860910" sldId="2147483833"/>
              <ac:spMk id="4" creationId="{00000000-0000-0000-0000-000000000000}"/>
            </ac:spMkLst>
          </pc:spChg>
          <pc:spChg chg="mod">
            <ac:chgData name="Pio Parma" userId="9f05d00a-e537-49d7-8068-10844eaca034" providerId="ADAL" clId="{AE5AB2BB-A16E-4143-8E58-03F5B98A59A3}" dt="2025-06-25T00:49:56.514" v="2182"/>
            <ac:spMkLst>
              <pc:docMk/>
              <pc:sldMasterMk cId="982166135" sldId="2147483828"/>
              <pc:sldLayoutMk cId="3472860910" sldId="2147483833"/>
              <ac:spMk id="9"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982166135" sldId="2147483828"/>
            <pc:sldLayoutMk cId="4179225824" sldId="2147483834"/>
          </pc:sldLayoutMkLst>
          <pc:spChg chg="mod">
            <ac:chgData name="Pio Parma" userId="9f05d00a-e537-49d7-8068-10844eaca034" providerId="ADAL" clId="{AE5AB2BB-A16E-4143-8E58-03F5B98A59A3}" dt="2025-06-25T00:49:56.514" v="2182"/>
            <ac:spMkLst>
              <pc:docMk/>
              <pc:sldMasterMk cId="982166135" sldId="2147483828"/>
              <pc:sldLayoutMk cId="4179225824" sldId="2147483834"/>
              <ac:spMk id="4" creationId="{00000000-0000-0000-0000-000000000000}"/>
            </ac:spMkLst>
          </pc:spChg>
          <pc:spChg chg="mod">
            <ac:chgData name="Pio Parma" userId="9f05d00a-e537-49d7-8068-10844eaca034" providerId="ADAL" clId="{AE5AB2BB-A16E-4143-8E58-03F5B98A59A3}" dt="2025-06-25T00:49:56.514" v="2182"/>
            <ac:spMkLst>
              <pc:docMk/>
              <pc:sldMasterMk cId="982166135" sldId="2147483828"/>
              <pc:sldLayoutMk cId="4179225824" sldId="2147483834"/>
              <ac:spMk id="5"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982166135" sldId="2147483828"/>
            <pc:sldLayoutMk cId="1232155460" sldId="2147483835"/>
          </pc:sldLayoutMkLst>
          <pc:spChg chg="mod">
            <ac:chgData name="Pio Parma" userId="9f05d00a-e537-49d7-8068-10844eaca034" providerId="ADAL" clId="{AE5AB2BB-A16E-4143-8E58-03F5B98A59A3}" dt="2025-06-25T00:49:56.514" v="2182"/>
            <ac:spMkLst>
              <pc:docMk/>
              <pc:sldMasterMk cId="982166135" sldId="2147483828"/>
              <pc:sldLayoutMk cId="1232155460" sldId="2147483835"/>
              <ac:spMk id="6" creationId="{00000000-0000-0000-0000-000000000000}"/>
            </ac:spMkLst>
          </pc:spChg>
          <pc:spChg chg="mod">
            <ac:chgData name="Pio Parma" userId="9f05d00a-e537-49d7-8068-10844eaca034" providerId="ADAL" clId="{AE5AB2BB-A16E-4143-8E58-03F5B98A59A3}" dt="2025-06-25T00:49:56.514" v="2182"/>
            <ac:spMkLst>
              <pc:docMk/>
              <pc:sldMasterMk cId="982166135" sldId="2147483828"/>
              <pc:sldLayoutMk cId="1232155460" sldId="2147483835"/>
              <ac:spMk id="15"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982166135" sldId="2147483828"/>
            <pc:sldLayoutMk cId="3779345192" sldId="2147483837"/>
          </pc:sldLayoutMkLst>
          <pc:spChg chg="mod">
            <ac:chgData name="Pio Parma" userId="9f05d00a-e537-49d7-8068-10844eaca034" providerId="ADAL" clId="{AE5AB2BB-A16E-4143-8E58-03F5B98A59A3}" dt="2025-06-25T00:49:56.514" v="2182"/>
            <ac:spMkLst>
              <pc:docMk/>
              <pc:sldMasterMk cId="982166135" sldId="2147483828"/>
              <pc:sldLayoutMk cId="3779345192" sldId="2147483837"/>
              <ac:spMk id="3" creationId="{00000000-0000-0000-0000-000000000000}"/>
            </ac:spMkLst>
          </pc:spChg>
          <pc:spChg chg="mod">
            <ac:chgData name="Pio Parma" userId="9f05d00a-e537-49d7-8068-10844eaca034" providerId="ADAL" clId="{AE5AB2BB-A16E-4143-8E58-03F5B98A59A3}" dt="2025-06-25T00:49:56.514" v="2182"/>
            <ac:spMkLst>
              <pc:docMk/>
              <pc:sldMasterMk cId="982166135" sldId="2147483828"/>
              <pc:sldLayoutMk cId="3779345192" sldId="2147483837"/>
              <ac:spMk id="7" creationId="{00000000-0000-0000-0000-000000000000}"/>
            </ac:spMkLst>
          </pc:spChg>
          <pc:picChg chg="mod">
            <ac:chgData name="Pio Parma" userId="9f05d00a-e537-49d7-8068-10844eaca034" providerId="ADAL" clId="{AE5AB2BB-A16E-4143-8E58-03F5B98A59A3}" dt="2025-06-25T00:49:56.514" v="2182"/>
            <ac:picMkLst>
              <pc:docMk/>
              <pc:sldMasterMk cId="982166135" sldId="2147483828"/>
              <pc:sldLayoutMk cId="3779345192" sldId="2147483837"/>
              <ac:picMk id="4" creationId="{EE26DE63-0830-4EAA-ADA1-8B2FFC167643}"/>
            </ac:picMkLst>
          </pc:picChg>
        </pc:sldLayoutChg>
        <pc:sldLayoutChg chg="modSp">
          <pc:chgData name="Pio Parma" userId="9f05d00a-e537-49d7-8068-10844eaca034" providerId="ADAL" clId="{AE5AB2BB-A16E-4143-8E58-03F5B98A59A3}" dt="2025-06-25T00:49:56.514" v="2182"/>
          <pc:sldLayoutMkLst>
            <pc:docMk/>
            <pc:sldMasterMk cId="982166135" sldId="2147483828"/>
            <pc:sldLayoutMk cId="1806905732" sldId="2147483838"/>
          </pc:sldLayoutMkLst>
          <pc:spChg chg="mod">
            <ac:chgData name="Pio Parma" userId="9f05d00a-e537-49d7-8068-10844eaca034" providerId="ADAL" clId="{AE5AB2BB-A16E-4143-8E58-03F5B98A59A3}" dt="2025-06-25T00:49:56.514" v="2182"/>
            <ac:spMkLst>
              <pc:docMk/>
              <pc:sldMasterMk cId="982166135" sldId="2147483828"/>
              <pc:sldLayoutMk cId="1806905732" sldId="2147483838"/>
              <ac:spMk id="3" creationId="{00000000-0000-0000-0000-000000000000}"/>
            </ac:spMkLst>
          </pc:spChg>
          <pc:spChg chg="mod">
            <ac:chgData name="Pio Parma" userId="9f05d00a-e537-49d7-8068-10844eaca034" providerId="ADAL" clId="{AE5AB2BB-A16E-4143-8E58-03F5B98A59A3}" dt="2025-06-25T00:49:56.514" v="2182"/>
            <ac:spMkLst>
              <pc:docMk/>
              <pc:sldMasterMk cId="982166135" sldId="2147483828"/>
              <pc:sldLayoutMk cId="1806905732" sldId="2147483838"/>
              <ac:spMk id="7" creationId="{00000000-0000-0000-0000-000000000000}"/>
            </ac:spMkLst>
          </pc:spChg>
          <pc:picChg chg="mod">
            <ac:chgData name="Pio Parma" userId="9f05d00a-e537-49d7-8068-10844eaca034" providerId="ADAL" clId="{AE5AB2BB-A16E-4143-8E58-03F5B98A59A3}" dt="2025-06-25T00:49:56.514" v="2182"/>
            <ac:picMkLst>
              <pc:docMk/>
              <pc:sldMasterMk cId="982166135" sldId="2147483828"/>
              <pc:sldLayoutMk cId="1806905732" sldId="2147483838"/>
              <ac:picMk id="4" creationId="{097C489D-B365-4A63-B8F6-B4DF74BAE691}"/>
            </ac:picMkLst>
          </pc:picChg>
        </pc:sldLayoutChg>
        <pc:sldLayoutChg chg="modSp">
          <pc:chgData name="Pio Parma" userId="9f05d00a-e537-49d7-8068-10844eaca034" providerId="ADAL" clId="{AE5AB2BB-A16E-4143-8E58-03F5B98A59A3}" dt="2025-06-25T00:49:56.514" v="2182"/>
          <pc:sldLayoutMkLst>
            <pc:docMk/>
            <pc:sldMasterMk cId="982166135" sldId="2147483828"/>
            <pc:sldLayoutMk cId="2280632048" sldId="2147483840"/>
          </pc:sldLayoutMkLst>
          <pc:spChg chg="mod">
            <ac:chgData name="Pio Parma" userId="9f05d00a-e537-49d7-8068-10844eaca034" providerId="ADAL" clId="{AE5AB2BB-A16E-4143-8E58-03F5B98A59A3}" dt="2025-06-25T00:49:56.514" v="2182"/>
            <ac:spMkLst>
              <pc:docMk/>
              <pc:sldMasterMk cId="982166135" sldId="2147483828"/>
              <pc:sldLayoutMk cId="2280632048" sldId="2147483840"/>
              <ac:spMk id="2" creationId="{34B0247E-C23A-4A31-B60B-C6B02AC79597}"/>
            </ac:spMkLst>
          </pc:spChg>
          <pc:spChg chg="mod">
            <ac:chgData name="Pio Parma" userId="9f05d00a-e537-49d7-8068-10844eaca034" providerId="ADAL" clId="{AE5AB2BB-A16E-4143-8E58-03F5B98A59A3}" dt="2025-06-25T00:49:56.514" v="2182"/>
            <ac:spMkLst>
              <pc:docMk/>
              <pc:sldMasterMk cId="982166135" sldId="2147483828"/>
              <pc:sldLayoutMk cId="2280632048" sldId="2147483840"/>
              <ac:spMk id="3" creationId="{2B8A8D61-C940-42D6-A3CB-0F8A067068A9}"/>
            </ac:spMkLst>
          </pc:spChg>
        </pc:sldLayoutChg>
        <pc:sldLayoutChg chg="modSp">
          <pc:chgData name="Pio Parma" userId="9f05d00a-e537-49d7-8068-10844eaca034" providerId="ADAL" clId="{AE5AB2BB-A16E-4143-8E58-03F5B98A59A3}" dt="2025-06-25T00:49:56.514" v="2182"/>
          <pc:sldLayoutMkLst>
            <pc:docMk/>
            <pc:sldMasterMk cId="982166135" sldId="2147483828"/>
            <pc:sldLayoutMk cId="3946178789" sldId="2147483841"/>
          </pc:sldLayoutMkLst>
          <pc:spChg chg="mod">
            <ac:chgData name="Pio Parma" userId="9f05d00a-e537-49d7-8068-10844eaca034" providerId="ADAL" clId="{AE5AB2BB-A16E-4143-8E58-03F5B98A59A3}" dt="2025-06-25T00:49:56.514" v="2182"/>
            <ac:spMkLst>
              <pc:docMk/>
              <pc:sldMasterMk cId="982166135" sldId="2147483828"/>
              <pc:sldLayoutMk cId="3946178789" sldId="2147483841"/>
              <ac:spMk id="4" creationId="{A513269F-8769-4D15-BDFB-860623E861C9}"/>
            </ac:spMkLst>
          </pc:spChg>
          <pc:cxnChg chg="mod">
            <ac:chgData name="Pio Parma" userId="9f05d00a-e537-49d7-8068-10844eaca034" providerId="ADAL" clId="{AE5AB2BB-A16E-4143-8E58-03F5B98A59A3}" dt="2025-06-25T00:49:56.514" v="2182"/>
            <ac:cxnSpMkLst>
              <pc:docMk/>
              <pc:sldMasterMk cId="982166135" sldId="2147483828"/>
              <pc:sldLayoutMk cId="3946178789" sldId="2147483841"/>
              <ac:cxnSpMk id="3" creationId="{480F71A9-D972-4409-A7C4-6DA65A4DD8BA}"/>
            </ac:cxnSpMkLst>
          </pc:cxnChg>
        </pc:sldLayoutChg>
        <pc:sldLayoutChg chg="modSp">
          <pc:chgData name="Pio Parma" userId="9f05d00a-e537-49d7-8068-10844eaca034" providerId="ADAL" clId="{AE5AB2BB-A16E-4143-8E58-03F5B98A59A3}" dt="2025-06-25T00:49:56.514" v="2182"/>
          <pc:sldLayoutMkLst>
            <pc:docMk/>
            <pc:sldMasterMk cId="982166135" sldId="2147483828"/>
            <pc:sldLayoutMk cId="4143587085" sldId="2147483842"/>
          </pc:sldLayoutMkLst>
          <pc:spChg chg="mod">
            <ac:chgData name="Pio Parma" userId="9f05d00a-e537-49d7-8068-10844eaca034" providerId="ADAL" clId="{AE5AB2BB-A16E-4143-8E58-03F5B98A59A3}" dt="2025-06-25T00:49:56.514" v="2182"/>
            <ac:spMkLst>
              <pc:docMk/>
              <pc:sldMasterMk cId="982166135" sldId="2147483828"/>
              <pc:sldLayoutMk cId="4143587085" sldId="2147483842"/>
              <ac:spMk id="9" creationId="{00000000-0000-0000-0000-000000000000}"/>
            </ac:spMkLst>
          </pc:spChg>
          <pc:spChg chg="mod">
            <ac:chgData name="Pio Parma" userId="9f05d00a-e537-49d7-8068-10844eaca034" providerId="ADAL" clId="{AE5AB2BB-A16E-4143-8E58-03F5B98A59A3}" dt="2025-06-25T00:49:56.514" v="2182"/>
            <ac:spMkLst>
              <pc:docMk/>
              <pc:sldMasterMk cId="982166135" sldId="2147483828"/>
              <pc:sldLayoutMk cId="4143587085" sldId="2147483842"/>
              <ac:spMk id="11"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982166135" sldId="2147483828"/>
            <pc:sldLayoutMk cId="1461427595" sldId="2147483843"/>
          </pc:sldLayoutMkLst>
          <pc:spChg chg="mod">
            <ac:chgData name="Pio Parma" userId="9f05d00a-e537-49d7-8068-10844eaca034" providerId="ADAL" clId="{AE5AB2BB-A16E-4143-8E58-03F5B98A59A3}" dt="2025-06-25T00:49:56.514" v="2182"/>
            <ac:spMkLst>
              <pc:docMk/>
              <pc:sldMasterMk cId="982166135" sldId="2147483828"/>
              <pc:sldLayoutMk cId="1461427595" sldId="2147483843"/>
              <ac:spMk id="4" creationId="{00000000-0000-0000-0000-000000000000}"/>
            </ac:spMkLst>
          </pc:spChg>
          <pc:spChg chg="mod">
            <ac:chgData name="Pio Parma" userId="9f05d00a-e537-49d7-8068-10844eaca034" providerId="ADAL" clId="{AE5AB2BB-A16E-4143-8E58-03F5B98A59A3}" dt="2025-06-25T00:49:56.514" v="2182"/>
            <ac:spMkLst>
              <pc:docMk/>
              <pc:sldMasterMk cId="982166135" sldId="2147483828"/>
              <pc:sldLayoutMk cId="1461427595" sldId="2147483843"/>
              <ac:spMk id="5"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982166135" sldId="2147483828"/>
            <pc:sldLayoutMk cId="2919716992" sldId="2147483844"/>
          </pc:sldLayoutMkLst>
          <pc:spChg chg="mod">
            <ac:chgData name="Pio Parma" userId="9f05d00a-e537-49d7-8068-10844eaca034" providerId="ADAL" clId="{AE5AB2BB-A16E-4143-8E58-03F5B98A59A3}" dt="2025-06-25T00:49:56.514" v="2182"/>
            <ac:spMkLst>
              <pc:docMk/>
              <pc:sldMasterMk cId="982166135" sldId="2147483828"/>
              <pc:sldLayoutMk cId="2919716992" sldId="2147483844"/>
              <ac:spMk id="8" creationId="{00000000-0000-0000-0000-000000000000}"/>
            </ac:spMkLst>
          </pc:spChg>
          <pc:spChg chg="mod">
            <ac:chgData name="Pio Parma" userId="9f05d00a-e537-49d7-8068-10844eaca034" providerId="ADAL" clId="{AE5AB2BB-A16E-4143-8E58-03F5B98A59A3}" dt="2025-06-25T00:49:56.514" v="2182"/>
            <ac:spMkLst>
              <pc:docMk/>
              <pc:sldMasterMk cId="982166135" sldId="2147483828"/>
              <pc:sldLayoutMk cId="2919716992" sldId="2147483844"/>
              <ac:spMk id="9"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982166135" sldId="2147483828"/>
            <pc:sldLayoutMk cId="3415214961" sldId="2147483846"/>
          </pc:sldLayoutMkLst>
          <pc:spChg chg="mod">
            <ac:chgData name="Pio Parma" userId="9f05d00a-e537-49d7-8068-10844eaca034" providerId="ADAL" clId="{AE5AB2BB-A16E-4143-8E58-03F5B98A59A3}" dt="2025-06-25T00:49:56.514" v="2182"/>
            <ac:spMkLst>
              <pc:docMk/>
              <pc:sldMasterMk cId="982166135" sldId="2147483828"/>
              <pc:sldLayoutMk cId="3415214961" sldId="2147483846"/>
              <ac:spMk id="17" creationId="{6990FCCA-7A0D-4536-8AAA-3EFEE95F91AA}"/>
            </ac:spMkLst>
          </pc:spChg>
          <pc:picChg chg="mod">
            <ac:chgData name="Pio Parma" userId="9f05d00a-e537-49d7-8068-10844eaca034" providerId="ADAL" clId="{AE5AB2BB-A16E-4143-8E58-03F5B98A59A3}" dt="2025-06-25T00:49:56.514" v="2182"/>
            <ac:picMkLst>
              <pc:docMk/>
              <pc:sldMasterMk cId="982166135" sldId="2147483828"/>
              <pc:sldLayoutMk cId="3415214961" sldId="2147483846"/>
              <ac:picMk id="15"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982166135" sldId="2147483828"/>
            <pc:sldLayoutMk cId="387297528" sldId="2147483847"/>
          </pc:sldLayoutMkLst>
          <pc:spChg chg="mod">
            <ac:chgData name="Pio Parma" userId="9f05d00a-e537-49d7-8068-10844eaca034" providerId="ADAL" clId="{AE5AB2BB-A16E-4143-8E58-03F5B98A59A3}" dt="2025-06-25T00:49:56.514" v="2182"/>
            <ac:spMkLst>
              <pc:docMk/>
              <pc:sldMasterMk cId="982166135" sldId="2147483828"/>
              <pc:sldLayoutMk cId="387297528" sldId="2147483847"/>
              <ac:spMk id="12" creationId="{6990FCCA-7A0D-4536-8AAA-3EFEE95F91AA}"/>
            </ac:spMkLst>
          </pc:spChg>
          <pc:picChg chg="mod">
            <ac:chgData name="Pio Parma" userId="9f05d00a-e537-49d7-8068-10844eaca034" providerId="ADAL" clId="{AE5AB2BB-A16E-4143-8E58-03F5B98A59A3}" dt="2025-06-25T00:49:56.514" v="2182"/>
            <ac:picMkLst>
              <pc:docMk/>
              <pc:sldMasterMk cId="982166135" sldId="2147483828"/>
              <pc:sldLayoutMk cId="387297528" sldId="2147483847"/>
              <ac:picMk id="10"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982166135" sldId="2147483828"/>
            <pc:sldLayoutMk cId="1079126757" sldId="2147483848"/>
          </pc:sldLayoutMkLst>
          <pc:spChg chg="mod">
            <ac:chgData name="Pio Parma" userId="9f05d00a-e537-49d7-8068-10844eaca034" providerId="ADAL" clId="{AE5AB2BB-A16E-4143-8E58-03F5B98A59A3}" dt="2025-06-25T00:49:56.514" v="2182"/>
            <ac:spMkLst>
              <pc:docMk/>
              <pc:sldMasterMk cId="982166135" sldId="2147483828"/>
              <pc:sldLayoutMk cId="1079126757" sldId="2147483848"/>
              <ac:spMk id="8" creationId="{6990FCCA-7A0D-4536-8AAA-3EFEE95F91AA}"/>
            </ac:spMkLst>
          </pc:spChg>
          <pc:picChg chg="mod">
            <ac:chgData name="Pio Parma" userId="9f05d00a-e537-49d7-8068-10844eaca034" providerId="ADAL" clId="{AE5AB2BB-A16E-4143-8E58-03F5B98A59A3}" dt="2025-06-25T00:49:56.514" v="2182"/>
            <ac:picMkLst>
              <pc:docMk/>
              <pc:sldMasterMk cId="982166135" sldId="2147483828"/>
              <pc:sldLayoutMk cId="1079126757" sldId="2147483848"/>
              <ac:picMk id="6"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982166135" sldId="2147483828"/>
            <pc:sldLayoutMk cId="1488919106" sldId="2147483849"/>
          </pc:sldLayoutMkLst>
          <pc:spChg chg="mod">
            <ac:chgData name="Pio Parma" userId="9f05d00a-e537-49d7-8068-10844eaca034" providerId="ADAL" clId="{AE5AB2BB-A16E-4143-8E58-03F5B98A59A3}" dt="2025-06-25T00:49:56.514" v="2182"/>
            <ac:spMkLst>
              <pc:docMk/>
              <pc:sldMasterMk cId="982166135" sldId="2147483828"/>
              <pc:sldLayoutMk cId="1488919106" sldId="2147483849"/>
              <ac:spMk id="2" creationId="{34B0247E-C23A-4A31-B60B-C6B02AC79597}"/>
            </ac:spMkLst>
          </pc:spChg>
          <pc:spChg chg="mod">
            <ac:chgData name="Pio Parma" userId="9f05d00a-e537-49d7-8068-10844eaca034" providerId="ADAL" clId="{AE5AB2BB-A16E-4143-8E58-03F5B98A59A3}" dt="2025-06-25T00:49:56.514" v="2182"/>
            <ac:spMkLst>
              <pc:docMk/>
              <pc:sldMasterMk cId="982166135" sldId="2147483828"/>
              <pc:sldLayoutMk cId="1488919106" sldId="2147483849"/>
              <ac:spMk id="6" creationId="{F43C7B1A-5D74-4852-8F13-DA3E8B3373DB}"/>
            </ac:spMkLst>
          </pc:spChg>
          <pc:graphicFrameChg chg="mod">
            <ac:chgData name="Pio Parma" userId="9f05d00a-e537-49d7-8068-10844eaca034" providerId="ADAL" clId="{AE5AB2BB-A16E-4143-8E58-03F5B98A59A3}" dt="2025-06-25T00:49:56.514" v="2182"/>
            <ac:graphicFrameMkLst>
              <pc:docMk/>
              <pc:sldMasterMk cId="982166135" sldId="2147483828"/>
              <pc:sldLayoutMk cId="1488919106" sldId="2147483849"/>
              <ac:graphicFrameMk id="4" creationId="{422E74AF-5128-4E59-AF54-67A68A2235D6}"/>
            </ac:graphicFrameMkLst>
          </pc:graphicFrameChg>
        </pc:sldLayoutChg>
      </pc:sldMasterChg>
      <pc:sldMasterChg chg="modSp modSldLayout">
        <pc:chgData name="Pio Parma" userId="9f05d00a-e537-49d7-8068-10844eaca034" providerId="ADAL" clId="{AE5AB2BB-A16E-4143-8E58-03F5B98A59A3}" dt="2025-06-25T00:49:56.514" v="2182"/>
        <pc:sldMasterMkLst>
          <pc:docMk/>
          <pc:sldMasterMk cId="3240937230" sldId="2147483870"/>
        </pc:sldMasterMkLst>
        <pc:spChg chg="mod">
          <ac:chgData name="Pio Parma" userId="9f05d00a-e537-49d7-8068-10844eaca034" providerId="ADAL" clId="{AE5AB2BB-A16E-4143-8E58-03F5B98A59A3}" dt="2025-06-25T00:49:56.514" v="2182"/>
          <ac:spMkLst>
            <pc:docMk/>
            <pc:sldMasterMk cId="3240937230" sldId="2147483870"/>
            <ac:spMk id="4" creationId="{51AF4284-6C34-43A5-A2D3-3714A380BFE0}"/>
          </ac:spMkLst>
        </pc:spChg>
        <pc:spChg chg="mod">
          <ac:chgData name="Pio Parma" userId="9f05d00a-e537-49d7-8068-10844eaca034" providerId="ADAL" clId="{AE5AB2BB-A16E-4143-8E58-03F5B98A59A3}" dt="2025-06-25T00:49:56.514" v="2182"/>
          <ac:spMkLst>
            <pc:docMk/>
            <pc:sldMasterMk cId="3240937230" sldId="2147483870"/>
            <ac:spMk id="5" creationId="{223B1B66-22C7-4D9B-9009-91B4BE9340C3}"/>
          </ac:spMkLst>
        </pc:spChg>
        <pc:spChg chg="mod">
          <ac:chgData name="Pio Parma" userId="9f05d00a-e537-49d7-8068-10844eaca034" providerId="ADAL" clId="{AE5AB2BB-A16E-4143-8E58-03F5B98A59A3}" dt="2025-06-25T00:49:56.514" v="2182"/>
          <ac:spMkLst>
            <pc:docMk/>
            <pc:sldMasterMk cId="3240937230" sldId="2147483870"/>
            <ac:spMk id="15" creationId="{49832D1E-87FA-482C-A166-12681ADB4B36}"/>
          </ac:spMkLst>
        </pc:spChg>
        <pc:spChg chg="mod">
          <ac:chgData name="Pio Parma" userId="9f05d00a-e537-49d7-8068-10844eaca034" providerId="ADAL" clId="{AE5AB2BB-A16E-4143-8E58-03F5B98A59A3}" dt="2025-06-25T00:49:56.514" v="2182"/>
          <ac:spMkLst>
            <pc:docMk/>
            <pc:sldMasterMk cId="3240937230" sldId="2147483870"/>
            <ac:spMk id="1033" creationId="{E3EA3DAB-BB25-4C0C-B7A9-7DAEF0B13306}"/>
          </ac:spMkLst>
        </pc:spChg>
        <pc:picChg chg="mod">
          <ac:chgData name="Pio Parma" userId="9f05d00a-e537-49d7-8068-10844eaca034" providerId="ADAL" clId="{AE5AB2BB-A16E-4143-8E58-03F5B98A59A3}" dt="2025-06-25T00:49:56.514" v="2182"/>
          <ac:picMkLst>
            <pc:docMk/>
            <pc:sldMasterMk cId="3240937230" sldId="2147483870"/>
            <ac:picMk id="2" creationId="{C17C6E4B-14F9-4F84-E524-708093441ADB}"/>
          </ac:picMkLst>
        </pc:picChg>
        <pc:picChg chg="mod">
          <ac:chgData name="Pio Parma" userId="9f05d00a-e537-49d7-8068-10844eaca034" providerId="ADAL" clId="{AE5AB2BB-A16E-4143-8E58-03F5B98A59A3}" dt="2025-06-25T00:49:56.514" v="2182"/>
          <ac:picMkLst>
            <pc:docMk/>
            <pc:sldMasterMk cId="3240937230" sldId="2147483870"/>
            <ac:picMk id="14" creationId="{168F8B35-366F-48D5-AE67-32103A49E414}"/>
          </ac:picMkLst>
        </pc:picChg>
        <pc:cxnChg chg="mod">
          <ac:chgData name="Pio Parma" userId="9f05d00a-e537-49d7-8068-10844eaca034" providerId="ADAL" clId="{AE5AB2BB-A16E-4143-8E58-03F5B98A59A3}" dt="2025-06-25T00:49:56.514" v="2182"/>
          <ac:cxnSpMkLst>
            <pc:docMk/>
            <pc:sldMasterMk cId="3240937230" sldId="2147483870"/>
            <ac:cxnSpMk id="13" creationId="{C3CCA961-8D61-45BA-B27F-FB2DFAF75489}"/>
          </ac:cxnSpMkLst>
        </pc:cxnChg>
        <pc:sldLayoutChg chg="modSp">
          <pc:chgData name="Pio Parma" userId="9f05d00a-e537-49d7-8068-10844eaca034" providerId="ADAL" clId="{AE5AB2BB-A16E-4143-8E58-03F5B98A59A3}" dt="2025-06-25T00:49:56.514" v="2182"/>
          <pc:sldLayoutMkLst>
            <pc:docMk/>
            <pc:sldMasterMk cId="3240937230" sldId="2147483870"/>
            <pc:sldLayoutMk cId="3124214669" sldId="2147483871"/>
          </pc:sldLayoutMkLst>
          <pc:spChg chg="mod">
            <ac:chgData name="Pio Parma" userId="9f05d00a-e537-49d7-8068-10844eaca034" providerId="ADAL" clId="{AE5AB2BB-A16E-4143-8E58-03F5B98A59A3}" dt="2025-06-25T00:49:56.514" v="2182"/>
            <ac:spMkLst>
              <pc:docMk/>
              <pc:sldMasterMk cId="3240937230" sldId="2147483870"/>
              <pc:sldLayoutMk cId="3124214669" sldId="2147483871"/>
              <ac:spMk id="2" creationId="{AD11B1C0-E831-460E-B679-473C507CE8AF}"/>
            </ac:spMkLst>
          </pc:spChg>
          <pc:spChg chg="mod">
            <ac:chgData name="Pio Parma" userId="9f05d00a-e537-49d7-8068-10844eaca034" providerId="ADAL" clId="{AE5AB2BB-A16E-4143-8E58-03F5B98A59A3}" dt="2025-06-25T00:49:56.514" v="2182"/>
            <ac:spMkLst>
              <pc:docMk/>
              <pc:sldMasterMk cId="3240937230" sldId="2147483870"/>
              <pc:sldLayoutMk cId="3124214669" sldId="2147483871"/>
              <ac:spMk id="11" creationId="{2D942B9A-A55E-4682-A543-6D063B114899}"/>
            </ac:spMkLst>
          </pc:spChg>
          <pc:spChg chg="mod">
            <ac:chgData name="Pio Parma" userId="9f05d00a-e537-49d7-8068-10844eaca034" providerId="ADAL" clId="{AE5AB2BB-A16E-4143-8E58-03F5B98A59A3}" dt="2025-06-25T00:49:56.514" v="2182"/>
            <ac:spMkLst>
              <pc:docMk/>
              <pc:sldMasterMk cId="3240937230" sldId="2147483870"/>
              <pc:sldLayoutMk cId="3124214669" sldId="2147483871"/>
              <ac:spMk id="12" creationId="{23C36DDE-09C7-41CB-9CBE-B45153495ED5}"/>
            </ac:spMkLst>
          </pc:spChg>
          <pc:spChg chg="mod">
            <ac:chgData name="Pio Parma" userId="9f05d00a-e537-49d7-8068-10844eaca034" providerId="ADAL" clId="{AE5AB2BB-A16E-4143-8E58-03F5B98A59A3}" dt="2025-06-25T00:49:56.514" v="2182"/>
            <ac:spMkLst>
              <pc:docMk/>
              <pc:sldMasterMk cId="3240937230" sldId="2147483870"/>
              <pc:sldLayoutMk cId="3124214669" sldId="2147483871"/>
              <ac:spMk id="16" creationId="{4ED0E4C7-47E5-4FB6-807B-90C3A58DB331}"/>
            </ac:spMkLst>
          </pc:spChg>
          <pc:picChg chg="mod">
            <ac:chgData name="Pio Parma" userId="9f05d00a-e537-49d7-8068-10844eaca034" providerId="ADAL" clId="{AE5AB2BB-A16E-4143-8E58-03F5B98A59A3}" dt="2025-06-25T00:49:56.514" v="2182"/>
            <ac:picMkLst>
              <pc:docMk/>
              <pc:sldMasterMk cId="3240937230" sldId="2147483870"/>
              <pc:sldLayoutMk cId="3124214669" sldId="2147483871"/>
              <ac:picMk id="4" creationId="{C0BEF47D-DF6B-6374-F352-80DD9954392A}"/>
            </ac:picMkLst>
          </pc:picChg>
          <pc:picChg chg="mod">
            <ac:chgData name="Pio Parma" userId="9f05d00a-e537-49d7-8068-10844eaca034" providerId="ADAL" clId="{AE5AB2BB-A16E-4143-8E58-03F5B98A59A3}" dt="2025-06-25T00:49:56.514" v="2182"/>
            <ac:picMkLst>
              <pc:docMk/>
              <pc:sldMasterMk cId="3240937230" sldId="2147483870"/>
              <pc:sldLayoutMk cId="3124214669" sldId="2147483871"/>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3240937230" sldId="2147483870"/>
            <pc:sldLayoutMk cId="4169925002" sldId="2147483872"/>
          </pc:sldLayoutMkLst>
          <pc:spChg chg="mod">
            <ac:chgData name="Pio Parma" userId="9f05d00a-e537-49d7-8068-10844eaca034" providerId="ADAL" clId="{AE5AB2BB-A16E-4143-8E58-03F5B98A59A3}" dt="2025-06-25T00:49:56.514" v="2182"/>
            <ac:spMkLst>
              <pc:docMk/>
              <pc:sldMasterMk cId="3240937230" sldId="2147483870"/>
              <pc:sldLayoutMk cId="4169925002" sldId="2147483872"/>
              <ac:spMk id="2" creationId="{AD11B1C0-E831-460E-B679-473C507CE8AF}"/>
            </ac:spMkLst>
          </pc:spChg>
          <pc:spChg chg="mod">
            <ac:chgData name="Pio Parma" userId="9f05d00a-e537-49d7-8068-10844eaca034" providerId="ADAL" clId="{AE5AB2BB-A16E-4143-8E58-03F5B98A59A3}" dt="2025-06-25T00:49:56.514" v="2182"/>
            <ac:spMkLst>
              <pc:docMk/>
              <pc:sldMasterMk cId="3240937230" sldId="2147483870"/>
              <pc:sldLayoutMk cId="4169925002" sldId="2147483872"/>
              <ac:spMk id="16" creationId="{4ED0E4C7-47E5-4FB6-807B-90C3A58DB331}"/>
            </ac:spMkLst>
          </pc:spChg>
          <pc:picChg chg="mod">
            <ac:chgData name="Pio Parma" userId="9f05d00a-e537-49d7-8068-10844eaca034" providerId="ADAL" clId="{AE5AB2BB-A16E-4143-8E58-03F5B98A59A3}" dt="2025-06-25T00:49:56.514" v="2182"/>
            <ac:picMkLst>
              <pc:docMk/>
              <pc:sldMasterMk cId="3240937230" sldId="2147483870"/>
              <pc:sldLayoutMk cId="4169925002" sldId="2147483872"/>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3240937230" sldId="2147483870"/>
            <pc:sldLayoutMk cId="677943506" sldId="2147483873"/>
          </pc:sldLayoutMkLst>
          <pc:spChg chg="mod">
            <ac:chgData name="Pio Parma" userId="9f05d00a-e537-49d7-8068-10844eaca034" providerId="ADAL" clId="{AE5AB2BB-A16E-4143-8E58-03F5B98A59A3}" dt="2025-06-25T00:49:56.514" v="2182"/>
            <ac:spMkLst>
              <pc:docMk/>
              <pc:sldMasterMk cId="3240937230" sldId="2147483870"/>
              <pc:sldLayoutMk cId="677943506" sldId="2147483873"/>
              <ac:spMk id="2" creationId="{EB249097-AA13-5DDD-F610-130FBC570C40}"/>
            </ac:spMkLst>
          </pc:spChg>
          <pc:spChg chg="mod">
            <ac:chgData name="Pio Parma" userId="9f05d00a-e537-49d7-8068-10844eaca034" providerId="ADAL" clId="{AE5AB2BB-A16E-4143-8E58-03F5B98A59A3}" dt="2025-06-25T00:49:56.514" v="2182"/>
            <ac:spMkLst>
              <pc:docMk/>
              <pc:sldMasterMk cId="3240937230" sldId="2147483870"/>
              <pc:sldLayoutMk cId="677943506" sldId="2147483873"/>
              <ac:spMk id="4"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3240937230" sldId="2147483870"/>
            <pc:sldLayoutMk cId="3654459429" sldId="2147483874"/>
          </pc:sldLayoutMkLst>
          <pc:spChg chg="mod">
            <ac:chgData name="Pio Parma" userId="9f05d00a-e537-49d7-8068-10844eaca034" providerId="ADAL" clId="{AE5AB2BB-A16E-4143-8E58-03F5B98A59A3}" dt="2025-06-25T00:49:56.514" v="2182"/>
            <ac:spMkLst>
              <pc:docMk/>
              <pc:sldMasterMk cId="3240937230" sldId="2147483870"/>
              <pc:sldLayoutMk cId="3654459429" sldId="2147483874"/>
              <ac:spMk id="8" creationId="{00000000-0000-0000-0000-000000000000}"/>
            </ac:spMkLst>
          </pc:spChg>
          <pc:spChg chg="mod">
            <ac:chgData name="Pio Parma" userId="9f05d00a-e537-49d7-8068-10844eaca034" providerId="ADAL" clId="{AE5AB2BB-A16E-4143-8E58-03F5B98A59A3}" dt="2025-06-25T00:49:56.514" v="2182"/>
            <ac:spMkLst>
              <pc:docMk/>
              <pc:sldMasterMk cId="3240937230" sldId="2147483870"/>
              <pc:sldLayoutMk cId="3654459429" sldId="2147483874"/>
              <ac:spMk id="9" creationId="{00000000-0000-0000-0000-000000000000}"/>
            </ac:spMkLst>
          </pc:spChg>
          <pc:cxnChg chg="mod">
            <ac:chgData name="Pio Parma" userId="9f05d00a-e537-49d7-8068-10844eaca034" providerId="ADAL" clId="{AE5AB2BB-A16E-4143-8E58-03F5B98A59A3}" dt="2025-06-25T00:49:56.514" v="2182"/>
            <ac:cxnSpMkLst>
              <pc:docMk/>
              <pc:sldMasterMk cId="3240937230" sldId="2147483870"/>
              <pc:sldLayoutMk cId="3654459429" sldId="2147483874"/>
              <ac:cxnSpMk id="4" creationId="{B3FA94F2-F432-4074-80C8-0476AC6F63D2}"/>
            </ac:cxnSpMkLst>
          </pc:cxnChg>
        </pc:sldLayoutChg>
        <pc:sldLayoutChg chg="modSp">
          <pc:chgData name="Pio Parma" userId="9f05d00a-e537-49d7-8068-10844eaca034" providerId="ADAL" clId="{AE5AB2BB-A16E-4143-8E58-03F5B98A59A3}" dt="2025-06-25T00:49:56.514" v="2182"/>
          <pc:sldLayoutMkLst>
            <pc:docMk/>
            <pc:sldMasterMk cId="3240937230" sldId="2147483870"/>
            <pc:sldLayoutMk cId="1676941987" sldId="2147483875"/>
          </pc:sldLayoutMkLst>
          <pc:spChg chg="mod">
            <ac:chgData name="Pio Parma" userId="9f05d00a-e537-49d7-8068-10844eaca034" providerId="ADAL" clId="{AE5AB2BB-A16E-4143-8E58-03F5B98A59A3}" dt="2025-06-25T00:49:56.514" v="2182"/>
            <ac:spMkLst>
              <pc:docMk/>
              <pc:sldMasterMk cId="3240937230" sldId="2147483870"/>
              <pc:sldLayoutMk cId="1676941987" sldId="2147483875"/>
              <ac:spMk id="2" creationId="{34B0247E-C23A-4A31-B60B-C6B02AC79597}"/>
            </ac:spMkLst>
          </pc:spChg>
          <pc:spChg chg="mod">
            <ac:chgData name="Pio Parma" userId="9f05d00a-e537-49d7-8068-10844eaca034" providerId="ADAL" clId="{AE5AB2BB-A16E-4143-8E58-03F5B98A59A3}" dt="2025-06-25T00:49:56.514" v="2182"/>
            <ac:spMkLst>
              <pc:docMk/>
              <pc:sldMasterMk cId="3240937230" sldId="2147483870"/>
              <pc:sldLayoutMk cId="1676941987" sldId="2147483875"/>
              <ac:spMk id="6" creationId="{F43C7B1A-5D74-4852-8F13-DA3E8B3373DB}"/>
            </ac:spMkLst>
          </pc:spChg>
          <pc:graphicFrameChg chg="mod">
            <ac:chgData name="Pio Parma" userId="9f05d00a-e537-49d7-8068-10844eaca034" providerId="ADAL" clId="{AE5AB2BB-A16E-4143-8E58-03F5B98A59A3}" dt="2025-06-25T00:49:56.514" v="2182"/>
            <ac:graphicFrameMkLst>
              <pc:docMk/>
              <pc:sldMasterMk cId="3240937230" sldId="2147483870"/>
              <pc:sldLayoutMk cId="1676941987" sldId="2147483875"/>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3240937230" sldId="2147483870"/>
            <pc:sldLayoutMk cId="1976926511" sldId="2147483876"/>
          </pc:sldLayoutMkLst>
          <pc:spChg chg="mod">
            <ac:chgData name="Pio Parma" userId="9f05d00a-e537-49d7-8068-10844eaca034" providerId="ADAL" clId="{AE5AB2BB-A16E-4143-8E58-03F5B98A59A3}" dt="2025-06-25T00:49:56.514" v="2182"/>
            <ac:spMkLst>
              <pc:docMk/>
              <pc:sldMasterMk cId="3240937230" sldId="2147483870"/>
              <pc:sldLayoutMk cId="1976926511" sldId="2147483876"/>
              <ac:spMk id="6" creationId="{00000000-0000-0000-0000-000000000000}"/>
            </ac:spMkLst>
          </pc:spChg>
          <pc:spChg chg="mod">
            <ac:chgData name="Pio Parma" userId="9f05d00a-e537-49d7-8068-10844eaca034" providerId="ADAL" clId="{AE5AB2BB-A16E-4143-8E58-03F5B98A59A3}" dt="2025-06-25T00:49:56.514" v="2182"/>
            <ac:spMkLst>
              <pc:docMk/>
              <pc:sldMasterMk cId="3240937230" sldId="2147483870"/>
              <pc:sldLayoutMk cId="1976926511" sldId="2147483876"/>
              <ac:spMk id="15"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3240937230" sldId="2147483870"/>
            <pc:sldLayoutMk cId="722715312" sldId="2147483877"/>
          </pc:sldLayoutMkLst>
          <pc:spChg chg="mod">
            <ac:chgData name="Pio Parma" userId="9f05d00a-e537-49d7-8068-10844eaca034" providerId="ADAL" clId="{AE5AB2BB-A16E-4143-8E58-03F5B98A59A3}" dt="2025-06-25T00:49:56.514" v="2182"/>
            <ac:spMkLst>
              <pc:docMk/>
              <pc:sldMasterMk cId="3240937230" sldId="2147483870"/>
              <pc:sldLayoutMk cId="722715312" sldId="2147483877"/>
              <ac:spMk id="9"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3240937230" sldId="2147483870"/>
            <pc:sldLayoutMk cId="2425416364" sldId="2147483878"/>
          </pc:sldLayoutMkLst>
          <pc:spChg chg="mod">
            <ac:chgData name="Pio Parma" userId="9f05d00a-e537-49d7-8068-10844eaca034" providerId="ADAL" clId="{AE5AB2BB-A16E-4143-8E58-03F5B98A59A3}" dt="2025-06-25T00:49:56.514" v="2182"/>
            <ac:spMkLst>
              <pc:docMk/>
              <pc:sldMasterMk cId="3240937230" sldId="2147483870"/>
              <pc:sldLayoutMk cId="2425416364" sldId="2147483878"/>
              <ac:spMk id="9" creationId="{00000000-0000-0000-0000-000000000000}"/>
            </ac:spMkLst>
          </pc:spChg>
          <pc:spChg chg="mod">
            <ac:chgData name="Pio Parma" userId="9f05d00a-e537-49d7-8068-10844eaca034" providerId="ADAL" clId="{AE5AB2BB-A16E-4143-8E58-03F5B98A59A3}" dt="2025-06-25T00:49:56.514" v="2182"/>
            <ac:spMkLst>
              <pc:docMk/>
              <pc:sldMasterMk cId="3240937230" sldId="2147483870"/>
              <pc:sldLayoutMk cId="2425416364" sldId="2147483878"/>
              <ac:spMk id="11" creationId="{00000000-0000-0000-0000-000000000000}"/>
            </ac:spMkLst>
          </pc:spChg>
          <pc:cxnChg chg="mod">
            <ac:chgData name="Pio Parma" userId="9f05d00a-e537-49d7-8068-10844eaca034" providerId="ADAL" clId="{AE5AB2BB-A16E-4143-8E58-03F5B98A59A3}" dt="2025-06-25T00:49:56.514" v="2182"/>
            <ac:cxnSpMkLst>
              <pc:docMk/>
              <pc:sldMasterMk cId="3240937230" sldId="2147483870"/>
              <pc:sldLayoutMk cId="2425416364" sldId="2147483878"/>
              <ac:cxnSpMk id="4" creationId="{825C28F8-BBEF-40DE-AC54-2BC4793E63D9}"/>
            </ac:cxnSpMkLst>
          </pc:cxnChg>
        </pc:sldLayoutChg>
        <pc:sldLayoutChg chg="modSp">
          <pc:chgData name="Pio Parma" userId="9f05d00a-e537-49d7-8068-10844eaca034" providerId="ADAL" clId="{AE5AB2BB-A16E-4143-8E58-03F5B98A59A3}" dt="2025-06-25T00:49:56.514" v="2182"/>
          <pc:sldLayoutMkLst>
            <pc:docMk/>
            <pc:sldMasterMk cId="3240937230" sldId="2147483870"/>
            <pc:sldLayoutMk cId="3784794020" sldId="2147483879"/>
          </pc:sldLayoutMkLst>
          <pc:spChg chg="mod">
            <ac:chgData name="Pio Parma" userId="9f05d00a-e537-49d7-8068-10844eaca034" providerId="ADAL" clId="{AE5AB2BB-A16E-4143-8E58-03F5B98A59A3}" dt="2025-06-25T00:49:56.514" v="2182"/>
            <ac:spMkLst>
              <pc:docMk/>
              <pc:sldMasterMk cId="3240937230" sldId="2147483870"/>
              <pc:sldLayoutMk cId="3784794020" sldId="2147483879"/>
              <ac:spMk id="4" creationId="{00000000-0000-0000-0000-000000000000}"/>
            </ac:spMkLst>
          </pc:spChg>
          <pc:spChg chg="mod">
            <ac:chgData name="Pio Parma" userId="9f05d00a-e537-49d7-8068-10844eaca034" providerId="ADAL" clId="{AE5AB2BB-A16E-4143-8E58-03F5B98A59A3}" dt="2025-06-25T00:49:56.514" v="2182"/>
            <ac:spMkLst>
              <pc:docMk/>
              <pc:sldMasterMk cId="3240937230" sldId="2147483870"/>
              <pc:sldLayoutMk cId="3784794020" sldId="2147483879"/>
              <ac:spMk id="5"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3240937230" sldId="2147483870"/>
            <pc:sldLayoutMk cId="4078594316" sldId="2147483880"/>
          </pc:sldLayoutMkLst>
          <pc:spChg chg="mod">
            <ac:chgData name="Pio Parma" userId="9f05d00a-e537-49d7-8068-10844eaca034" providerId="ADAL" clId="{AE5AB2BB-A16E-4143-8E58-03F5B98A59A3}" dt="2025-06-25T00:49:56.514" v="2182"/>
            <ac:spMkLst>
              <pc:docMk/>
              <pc:sldMasterMk cId="3240937230" sldId="2147483870"/>
              <pc:sldLayoutMk cId="4078594316" sldId="2147483880"/>
              <ac:spMk id="11" creationId="{00000000-0000-0000-0000-000000000000}"/>
            </ac:spMkLst>
          </pc:spChg>
          <pc:spChg chg="mod">
            <ac:chgData name="Pio Parma" userId="9f05d00a-e537-49d7-8068-10844eaca034" providerId="ADAL" clId="{AE5AB2BB-A16E-4143-8E58-03F5B98A59A3}" dt="2025-06-25T00:49:56.514" v="2182"/>
            <ac:spMkLst>
              <pc:docMk/>
              <pc:sldMasterMk cId="3240937230" sldId="2147483870"/>
              <pc:sldLayoutMk cId="4078594316" sldId="2147483880"/>
              <ac:spMk id="12"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3240937230" sldId="2147483870"/>
            <pc:sldLayoutMk cId="4089873290" sldId="2147483882"/>
          </pc:sldLayoutMkLst>
          <pc:spChg chg="mod">
            <ac:chgData name="Pio Parma" userId="9f05d00a-e537-49d7-8068-10844eaca034" providerId="ADAL" clId="{AE5AB2BB-A16E-4143-8E58-03F5B98A59A3}" dt="2025-06-25T00:49:56.514" v="2182"/>
            <ac:spMkLst>
              <pc:docMk/>
              <pc:sldMasterMk cId="3240937230" sldId="2147483870"/>
              <pc:sldLayoutMk cId="4089873290" sldId="2147483882"/>
              <ac:spMk id="17" creationId="{6990FCCA-7A0D-4536-8AAA-3EFEE95F91AA}"/>
            </ac:spMkLst>
          </pc:spChg>
          <pc:picChg chg="mod">
            <ac:chgData name="Pio Parma" userId="9f05d00a-e537-49d7-8068-10844eaca034" providerId="ADAL" clId="{AE5AB2BB-A16E-4143-8E58-03F5B98A59A3}" dt="2025-06-25T00:49:56.514" v="2182"/>
            <ac:picMkLst>
              <pc:docMk/>
              <pc:sldMasterMk cId="3240937230" sldId="2147483870"/>
              <pc:sldLayoutMk cId="4089873290" sldId="2147483882"/>
              <ac:picMk id="15" creationId="{00000000-0000-0000-0000-000000000000}"/>
            </ac:picMkLst>
          </pc:picChg>
          <pc:picChg chg="mod">
            <ac:chgData name="Pio Parma" userId="9f05d00a-e537-49d7-8068-10844eaca034" providerId="ADAL" clId="{AE5AB2BB-A16E-4143-8E58-03F5B98A59A3}" dt="2025-06-25T00:49:56.514" v="2182"/>
            <ac:picMkLst>
              <pc:docMk/>
              <pc:sldMasterMk cId="3240937230" sldId="2147483870"/>
              <pc:sldLayoutMk cId="4089873290" sldId="2147483882"/>
              <ac:picMk id="16"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3240937230" sldId="2147483870"/>
            <pc:sldLayoutMk cId="3576329542" sldId="2147483883"/>
          </pc:sldLayoutMkLst>
          <pc:spChg chg="mod">
            <ac:chgData name="Pio Parma" userId="9f05d00a-e537-49d7-8068-10844eaca034" providerId="ADAL" clId="{AE5AB2BB-A16E-4143-8E58-03F5B98A59A3}" dt="2025-06-25T00:49:56.514" v="2182"/>
            <ac:spMkLst>
              <pc:docMk/>
              <pc:sldMasterMk cId="3240937230" sldId="2147483870"/>
              <pc:sldLayoutMk cId="3576329542" sldId="2147483883"/>
              <ac:spMk id="12" creationId="{6990FCCA-7A0D-4536-8AAA-3EFEE95F91AA}"/>
            </ac:spMkLst>
          </pc:spChg>
          <pc:picChg chg="mod">
            <ac:chgData name="Pio Parma" userId="9f05d00a-e537-49d7-8068-10844eaca034" providerId="ADAL" clId="{AE5AB2BB-A16E-4143-8E58-03F5B98A59A3}" dt="2025-06-25T00:49:56.514" v="2182"/>
            <ac:picMkLst>
              <pc:docMk/>
              <pc:sldMasterMk cId="3240937230" sldId="2147483870"/>
              <pc:sldLayoutMk cId="3576329542" sldId="2147483883"/>
              <ac:picMk id="10" creationId="{00000000-0000-0000-0000-000000000000}"/>
            </ac:picMkLst>
          </pc:picChg>
          <pc:picChg chg="mod">
            <ac:chgData name="Pio Parma" userId="9f05d00a-e537-49d7-8068-10844eaca034" providerId="ADAL" clId="{AE5AB2BB-A16E-4143-8E58-03F5B98A59A3}" dt="2025-06-25T00:49:56.514" v="2182"/>
            <ac:picMkLst>
              <pc:docMk/>
              <pc:sldMasterMk cId="3240937230" sldId="2147483870"/>
              <pc:sldLayoutMk cId="3576329542" sldId="2147483883"/>
              <ac:picMk id="11"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3240937230" sldId="2147483870"/>
            <pc:sldLayoutMk cId="472035023" sldId="2147483884"/>
          </pc:sldLayoutMkLst>
          <pc:spChg chg="mod">
            <ac:chgData name="Pio Parma" userId="9f05d00a-e537-49d7-8068-10844eaca034" providerId="ADAL" clId="{AE5AB2BB-A16E-4143-8E58-03F5B98A59A3}" dt="2025-06-25T00:49:56.514" v="2182"/>
            <ac:spMkLst>
              <pc:docMk/>
              <pc:sldMasterMk cId="3240937230" sldId="2147483870"/>
              <pc:sldLayoutMk cId="472035023" sldId="2147483884"/>
              <ac:spMk id="8" creationId="{6990FCCA-7A0D-4536-8AAA-3EFEE95F91AA}"/>
            </ac:spMkLst>
          </pc:spChg>
          <pc:picChg chg="mod">
            <ac:chgData name="Pio Parma" userId="9f05d00a-e537-49d7-8068-10844eaca034" providerId="ADAL" clId="{AE5AB2BB-A16E-4143-8E58-03F5B98A59A3}" dt="2025-06-25T00:49:56.514" v="2182"/>
            <ac:picMkLst>
              <pc:docMk/>
              <pc:sldMasterMk cId="3240937230" sldId="2147483870"/>
              <pc:sldLayoutMk cId="472035023" sldId="2147483884"/>
              <ac:picMk id="6" creationId="{00000000-0000-0000-0000-000000000000}"/>
            </ac:picMkLst>
          </pc:picChg>
          <pc:picChg chg="mod">
            <ac:chgData name="Pio Parma" userId="9f05d00a-e537-49d7-8068-10844eaca034" providerId="ADAL" clId="{AE5AB2BB-A16E-4143-8E58-03F5B98A59A3}" dt="2025-06-25T00:49:56.514" v="2182"/>
            <ac:picMkLst>
              <pc:docMk/>
              <pc:sldMasterMk cId="3240937230" sldId="2147483870"/>
              <pc:sldLayoutMk cId="472035023" sldId="2147483884"/>
              <ac:picMk id="7"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3240937230" sldId="2147483870"/>
            <pc:sldLayoutMk cId="362209812" sldId="2147483885"/>
          </pc:sldLayoutMkLst>
          <pc:spChg chg="mod">
            <ac:chgData name="Pio Parma" userId="9f05d00a-e537-49d7-8068-10844eaca034" providerId="ADAL" clId="{AE5AB2BB-A16E-4143-8E58-03F5B98A59A3}" dt="2025-06-25T00:49:56.514" v="2182"/>
            <ac:spMkLst>
              <pc:docMk/>
              <pc:sldMasterMk cId="3240937230" sldId="2147483870"/>
              <pc:sldLayoutMk cId="362209812" sldId="2147483885"/>
              <ac:spMk id="3" creationId="{00000000-0000-0000-0000-000000000000}"/>
            </ac:spMkLst>
          </pc:spChg>
          <pc:spChg chg="mod">
            <ac:chgData name="Pio Parma" userId="9f05d00a-e537-49d7-8068-10844eaca034" providerId="ADAL" clId="{AE5AB2BB-A16E-4143-8E58-03F5B98A59A3}" dt="2025-06-25T00:49:56.514" v="2182"/>
            <ac:spMkLst>
              <pc:docMk/>
              <pc:sldMasterMk cId="3240937230" sldId="2147483870"/>
              <pc:sldLayoutMk cId="362209812" sldId="2147483885"/>
              <ac:spMk id="7" creationId="{00000000-0000-0000-0000-000000000000}"/>
            </ac:spMkLst>
          </pc:spChg>
          <pc:picChg chg="mod">
            <ac:chgData name="Pio Parma" userId="9f05d00a-e537-49d7-8068-10844eaca034" providerId="ADAL" clId="{AE5AB2BB-A16E-4143-8E58-03F5B98A59A3}" dt="2025-06-25T00:49:56.514" v="2182"/>
            <ac:picMkLst>
              <pc:docMk/>
              <pc:sldMasterMk cId="3240937230" sldId="2147483870"/>
              <pc:sldLayoutMk cId="362209812" sldId="2147483885"/>
              <ac:picMk id="4"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3240937230" sldId="2147483870"/>
            <pc:sldLayoutMk cId="2292713900" sldId="2147483887"/>
          </pc:sldLayoutMkLst>
          <pc:spChg chg="mod">
            <ac:chgData name="Pio Parma" userId="9f05d00a-e537-49d7-8068-10844eaca034" providerId="ADAL" clId="{AE5AB2BB-A16E-4143-8E58-03F5B98A59A3}" dt="2025-06-25T00:49:56.514" v="2182"/>
            <ac:spMkLst>
              <pc:docMk/>
              <pc:sldMasterMk cId="3240937230" sldId="2147483870"/>
              <pc:sldLayoutMk cId="2292713900" sldId="2147483887"/>
              <ac:spMk id="2" creationId="{3A1825A3-58F0-4043-960D-4FC358C1F42F}"/>
            </ac:spMkLst>
          </pc:spChg>
          <pc:spChg chg="mod">
            <ac:chgData name="Pio Parma" userId="9f05d00a-e537-49d7-8068-10844eaca034" providerId="ADAL" clId="{AE5AB2BB-A16E-4143-8E58-03F5B98A59A3}" dt="2025-06-25T00:49:56.514" v="2182"/>
            <ac:spMkLst>
              <pc:docMk/>
              <pc:sldMasterMk cId="3240937230" sldId="2147483870"/>
              <pc:sldLayoutMk cId="2292713900" sldId="2147483887"/>
              <ac:spMk id="3" creationId="{D03D99E8-AAB7-7045-A551-C15D512265DF}"/>
            </ac:spMkLst>
          </pc:spChg>
        </pc:sldLayoutChg>
        <pc:sldLayoutChg chg="modSp">
          <pc:chgData name="Pio Parma" userId="9f05d00a-e537-49d7-8068-10844eaca034" providerId="ADAL" clId="{AE5AB2BB-A16E-4143-8E58-03F5B98A59A3}" dt="2025-06-25T00:49:56.514" v="2182"/>
          <pc:sldLayoutMkLst>
            <pc:docMk/>
            <pc:sldMasterMk cId="3240937230" sldId="2147483870"/>
            <pc:sldLayoutMk cId="2209765725" sldId="2147483888"/>
          </pc:sldLayoutMkLst>
          <pc:spChg chg="mod">
            <ac:chgData name="Pio Parma" userId="9f05d00a-e537-49d7-8068-10844eaca034" providerId="ADAL" clId="{AE5AB2BB-A16E-4143-8E58-03F5B98A59A3}" dt="2025-06-25T00:49:56.514" v="2182"/>
            <ac:spMkLst>
              <pc:docMk/>
              <pc:sldMasterMk cId="3240937230" sldId="2147483870"/>
              <pc:sldLayoutMk cId="2209765725" sldId="2147483888"/>
              <ac:spMk id="2" creationId="{E06E4AC1-D9FD-47D4-4E92-F072BC43848C}"/>
            </ac:spMkLst>
          </pc:spChg>
          <pc:spChg chg="mod">
            <ac:chgData name="Pio Parma" userId="9f05d00a-e537-49d7-8068-10844eaca034" providerId="ADAL" clId="{AE5AB2BB-A16E-4143-8E58-03F5B98A59A3}" dt="2025-06-25T00:49:56.514" v="2182"/>
            <ac:spMkLst>
              <pc:docMk/>
              <pc:sldMasterMk cId="3240937230" sldId="2147483870"/>
              <pc:sldLayoutMk cId="2209765725" sldId="2147483888"/>
              <ac:spMk id="8" creationId="{C2BA107F-013F-4A8B-A41A-1FAC206EA0E0}"/>
            </ac:spMkLst>
          </pc:spChg>
          <pc:graphicFrameChg chg="mod">
            <ac:chgData name="Pio Parma" userId="9f05d00a-e537-49d7-8068-10844eaca034" providerId="ADAL" clId="{AE5AB2BB-A16E-4143-8E58-03F5B98A59A3}" dt="2025-06-25T00:49:56.514" v="2182"/>
            <ac:graphicFrameMkLst>
              <pc:docMk/>
              <pc:sldMasterMk cId="3240937230" sldId="2147483870"/>
              <pc:sldLayoutMk cId="2209765725" sldId="2147483888"/>
              <ac:graphicFrameMk id="4" creationId="{94C82428-55DE-4FD0-9741-C26246591EE0}"/>
            </ac:graphicFrameMkLst>
          </pc:graphicFrameChg>
        </pc:sldLayoutChg>
        <pc:sldLayoutChg chg="modSp">
          <pc:chgData name="Pio Parma" userId="9f05d00a-e537-49d7-8068-10844eaca034" providerId="ADAL" clId="{AE5AB2BB-A16E-4143-8E58-03F5B98A59A3}" dt="2025-06-25T00:49:56.514" v="2182"/>
          <pc:sldLayoutMkLst>
            <pc:docMk/>
            <pc:sldMasterMk cId="3240937230" sldId="2147483870"/>
            <pc:sldLayoutMk cId="3313031722" sldId="2147483889"/>
          </pc:sldLayoutMkLst>
          <pc:spChg chg="mod">
            <ac:chgData name="Pio Parma" userId="9f05d00a-e537-49d7-8068-10844eaca034" providerId="ADAL" clId="{AE5AB2BB-A16E-4143-8E58-03F5B98A59A3}" dt="2025-06-25T00:49:56.514" v="2182"/>
            <ac:spMkLst>
              <pc:docMk/>
              <pc:sldMasterMk cId="3240937230" sldId="2147483870"/>
              <pc:sldLayoutMk cId="3313031722" sldId="2147483889"/>
              <ac:spMk id="2" creationId="{34B0247E-C23A-4A31-B60B-C6B02AC79597}"/>
            </ac:spMkLst>
          </pc:spChg>
          <pc:spChg chg="mod">
            <ac:chgData name="Pio Parma" userId="9f05d00a-e537-49d7-8068-10844eaca034" providerId="ADAL" clId="{AE5AB2BB-A16E-4143-8E58-03F5B98A59A3}" dt="2025-06-25T00:49:56.514" v="2182"/>
            <ac:spMkLst>
              <pc:docMk/>
              <pc:sldMasterMk cId="3240937230" sldId="2147483870"/>
              <pc:sldLayoutMk cId="3313031722" sldId="2147483889"/>
              <ac:spMk id="5" creationId="{004B5E75-9EA3-4549-AEDA-BA091BFEA31B}"/>
            </ac:spMkLst>
          </pc:spChg>
          <pc:spChg chg="mod">
            <ac:chgData name="Pio Parma" userId="9f05d00a-e537-49d7-8068-10844eaca034" providerId="ADAL" clId="{AE5AB2BB-A16E-4143-8E58-03F5B98A59A3}" dt="2025-06-25T00:49:56.514" v="2182"/>
            <ac:spMkLst>
              <pc:docMk/>
              <pc:sldMasterMk cId="3240937230" sldId="2147483870"/>
              <pc:sldLayoutMk cId="3313031722" sldId="2147483889"/>
              <ac:spMk id="6" creationId="{2997CE74-FC52-42EC-BC36-AA81E2E2126A}"/>
            </ac:spMkLst>
          </pc:spChg>
          <pc:graphicFrameChg chg="mod">
            <ac:chgData name="Pio Parma" userId="9f05d00a-e537-49d7-8068-10844eaca034" providerId="ADAL" clId="{AE5AB2BB-A16E-4143-8E58-03F5B98A59A3}" dt="2025-06-25T00:49:56.514" v="2182"/>
            <ac:graphicFrameMkLst>
              <pc:docMk/>
              <pc:sldMasterMk cId="3240937230" sldId="2147483870"/>
              <pc:sldLayoutMk cId="3313031722" sldId="2147483889"/>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3240937230" sldId="2147483870"/>
            <pc:sldLayoutMk cId="227676652" sldId="2147483890"/>
          </pc:sldLayoutMkLst>
          <pc:spChg chg="mod">
            <ac:chgData name="Pio Parma" userId="9f05d00a-e537-49d7-8068-10844eaca034" providerId="ADAL" clId="{AE5AB2BB-A16E-4143-8E58-03F5B98A59A3}" dt="2025-06-25T00:49:56.514" v="2182"/>
            <ac:spMkLst>
              <pc:docMk/>
              <pc:sldMasterMk cId="3240937230" sldId="2147483870"/>
              <pc:sldLayoutMk cId="227676652" sldId="2147483890"/>
              <ac:spMk id="2" creationId="{34B0247E-C23A-4A31-B60B-C6B02AC79597}"/>
            </ac:spMkLst>
          </pc:spChg>
          <pc:graphicFrameChg chg="mod">
            <ac:chgData name="Pio Parma" userId="9f05d00a-e537-49d7-8068-10844eaca034" providerId="ADAL" clId="{AE5AB2BB-A16E-4143-8E58-03F5B98A59A3}" dt="2025-06-25T00:49:56.514" v="2182"/>
            <ac:graphicFrameMkLst>
              <pc:docMk/>
              <pc:sldMasterMk cId="3240937230" sldId="2147483870"/>
              <pc:sldLayoutMk cId="227676652" sldId="2147483890"/>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3240937230" sldId="2147483870"/>
            <pc:sldLayoutMk cId="1388151090" sldId="2147483891"/>
          </pc:sldLayoutMkLst>
          <pc:spChg chg="mod">
            <ac:chgData name="Pio Parma" userId="9f05d00a-e537-49d7-8068-10844eaca034" providerId="ADAL" clId="{AE5AB2BB-A16E-4143-8E58-03F5B98A59A3}" dt="2025-06-25T00:49:56.514" v="2182"/>
            <ac:spMkLst>
              <pc:docMk/>
              <pc:sldMasterMk cId="3240937230" sldId="2147483870"/>
              <pc:sldLayoutMk cId="1388151090" sldId="2147483891"/>
              <ac:spMk id="2" creationId="{34B0247E-C23A-4A31-B60B-C6B02AC79597}"/>
            </ac:spMkLst>
          </pc:spChg>
          <pc:spChg chg="mod">
            <ac:chgData name="Pio Parma" userId="9f05d00a-e537-49d7-8068-10844eaca034" providerId="ADAL" clId="{AE5AB2BB-A16E-4143-8E58-03F5B98A59A3}" dt="2025-06-25T00:49:56.514" v="2182"/>
            <ac:spMkLst>
              <pc:docMk/>
              <pc:sldMasterMk cId="3240937230" sldId="2147483870"/>
              <pc:sldLayoutMk cId="1388151090" sldId="2147483891"/>
              <ac:spMk id="3" creationId="{EF548FC1-714E-8D9C-0E96-37F9D598E4A9}"/>
            </ac:spMkLst>
          </pc:spChg>
          <pc:graphicFrameChg chg="mod">
            <ac:chgData name="Pio Parma" userId="9f05d00a-e537-49d7-8068-10844eaca034" providerId="ADAL" clId="{AE5AB2BB-A16E-4143-8E58-03F5B98A59A3}" dt="2025-06-25T00:49:56.514" v="2182"/>
            <ac:graphicFrameMkLst>
              <pc:docMk/>
              <pc:sldMasterMk cId="3240937230" sldId="2147483870"/>
              <pc:sldLayoutMk cId="1388151090" sldId="2147483891"/>
              <ac:graphicFrameMk id="4" creationId="{422E74AF-5128-4E59-AF54-67A68A2235D6}"/>
            </ac:graphicFrameMkLst>
          </pc:graphicFrameChg>
        </pc:sldLayoutChg>
      </pc:sldMasterChg>
      <pc:sldMasterChg chg="modSp modSldLayout">
        <pc:chgData name="Pio Parma" userId="9f05d00a-e537-49d7-8068-10844eaca034" providerId="ADAL" clId="{AE5AB2BB-A16E-4143-8E58-03F5B98A59A3}" dt="2025-06-25T00:49:56.514" v="2182"/>
        <pc:sldMasterMkLst>
          <pc:docMk/>
          <pc:sldMasterMk cId="2584381504" sldId="2147484069"/>
        </pc:sldMasterMkLst>
        <pc:spChg chg="mod">
          <ac:chgData name="Pio Parma" userId="9f05d00a-e537-49d7-8068-10844eaca034" providerId="ADAL" clId="{AE5AB2BB-A16E-4143-8E58-03F5B98A59A3}" dt="2025-06-25T00:49:56.514" v="2182"/>
          <ac:spMkLst>
            <pc:docMk/>
            <pc:sldMasterMk cId="2584381504" sldId="2147484069"/>
            <ac:spMk id="9" creationId="{6990FCCA-7A0D-4536-8AAA-3EFEE95F91AA}"/>
          </ac:spMkLst>
        </pc:spChg>
        <pc:graphicFrameChg chg="mod">
          <ac:chgData name="Pio Parma" userId="9f05d00a-e537-49d7-8068-10844eaca034" providerId="ADAL" clId="{AE5AB2BB-A16E-4143-8E58-03F5B98A59A3}" dt="2025-06-25T00:49:56.514" v="2182"/>
          <ac:graphicFrameMkLst>
            <pc:docMk/>
            <pc:sldMasterMk cId="2584381504" sldId="2147484069"/>
            <ac:graphicFrameMk id="2" creationId="{C5F2D8A8-0099-4A9D-8086-F133407E0391}"/>
          </ac:graphicFrameMkLst>
        </pc:graphicFrameChg>
        <pc:picChg chg="mod">
          <ac:chgData name="Pio Parma" userId="9f05d00a-e537-49d7-8068-10844eaca034" providerId="ADAL" clId="{AE5AB2BB-A16E-4143-8E58-03F5B98A59A3}" dt="2025-06-25T00:49:56.514" v="2182"/>
          <ac:picMkLst>
            <pc:docMk/>
            <pc:sldMasterMk cId="2584381504" sldId="2147484069"/>
            <ac:picMk id="4" creationId="{6E992FBD-7476-AAC6-077D-4E9AEFB2C6F6}"/>
          </ac:picMkLst>
        </pc:picChg>
        <pc:picChg chg="mod">
          <ac:chgData name="Pio Parma" userId="9f05d00a-e537-49d7-8068-10844eaca034" providerId="ADAL" clId="{AE5AB2BB-A16E-4143-8E58-03F5B98A59A3}" dt="2025-06-25T00:49:56.514" v="2182"/>
          <ac:picMkLst>
            <pc:docMk/>
            <pc:sldMasterMk cId="2584381504" sldId="2147484069"/>
            <ac:picMk id="7" creationId="{00000000-0000-0000-0000-000000000000}"/>
          </ac:picMkLst>
        </pc:picChg>
        <pc:cxnChg chg="mod">
          <ac:chgData name="Pio Parma" userId="9f05d00a-e537-49d7-8068-10844eaca034" providerId="ADAL" clId="{AE5AB2BB-A16E-4143-8E58-03F5B98A59A3}" dt="2025-06-25T00:49:56.514" v="2182"/>
          <ac:cxnSpMkLst>
            <pc:docMk/>
            <pc:sldMasterMk cId="2584381504" sldId="2147484069"/>
            <ac:cxnSpMk id="8" creationId="{B914DDBC-A419-41FA-A158-73DD87EDB6E8}"/>
          </ac:cxnSpMkLst>
        </pc:cxnChg>
        <pc:sldLayoutChg chg="modSp">
          <pc:chgData name="Pio Parma" userId="9f05d00a-e537-49d7-8068-10844eaca034" providerId="ADAL" clId="{AE5AB2BB-A16E-4143-8E58-03F5B98A59A3}" dt="2025-06-25T00:49:56.514" v="2182"/>
          <pc:sldLayoutMkLst>
            <pc:docMk/>
            <pc:sldMasterMk cId="2584381504" sldId="2147484069"/>
            <pc:sldLayoutMk cId="2579759593" sldId="2147484070"/>
          </pc:sldLayoutMkLst>
          <pc:spChg chg="mod">
            <ac:chgData name="Pio Parma" userId="9f05d00a-e537-49d7-8068-10844eaca034" providerId="ADAL" clId="{AE5AB2BB-A16E-4143-8E58-03F5B98A59A3}" dt="2025-06-25T00:49:56.514" v="2182"/>
            <ac:spMkLst>
              <pc:docMk/>
              <pc:sldMasterMk cId="2584381504" sldId="2147484069"/>
              <pc:sldLayoutMk cId="2579759593" sldId="2147484070"/>
              <ac:spMk id="2" creationId="{AD11B1C0-E831-460E-B679-473C507CE8AF}"/>
            </ac:spMkLst>
          </pc:spChg>
          <pc:spChg chg="mod">
            <ac:chgData name="Pio Parma" userId="9f05d00a-e537-49d7-8068-10844eaca034" providerId="ADAL" clId="{AE5AB2BB-A16E-4143-8E58-03F5B98A59A3}" dt="2025-06-25T00:49:56.514" v="2182"/>
            <ac:spMkLst>
              <pc:docMk/>
              <pc:sldMasterMk cId="2584381504" sldId="2147484069"/>
              <pc:sldLayoutMk cId="2579759593" sldId="2147484070"/>
              <ac:spMk id="9" creationId="{C381A194-FD88-4937-AD2C-F0D70BAFD686}"/>
            </ac:spMkLst>
          </pc:spChg>
          <pc:spChg chg="mod">
            <ac:chgData name="Pio Parma" userId="9f05d00a-e537-49d7-8068-10844eaca034" providerId="ADAL" clId="{AE5AB2BB-A16E-4143-8E58-03F5B98A59A3}" dt="2025-06-25T00:49:56.514" v="2182"/>
            <ac:spMkLst>
              <pc:docMk/>
              <pc:sldMasterMk cId="2584381504" sldId="2147484069"/>
              <pc:sldLayoutMk cId="2579759593" sldId="2147484070"/>
              <ac:spMk id="10" creationId="{E48C28C1-455E-4BEB-AA3B-64852673EE1D}"/>
            </ac:spMkLst>
          </pc:spChg>
          <pc:spChg chg="mod">
            <ac:chgData name="Pio Parma" userId="9f05d00a-e537-49d7-8068-10844eaca034" providerId="ADAL" clId="{AE5AB2BB-A16E-4143-8E58-03F5B98A59A3}" dt="2025-06-25T00:49:56.514" v="2182"/>
            <ac:spMkLst>
              <pc:docMk/>
              <pc:sldMasterMk cId="2584381504" sldId="2147484069"/>
              <pc:sldLayoutMk cId="2579759593" sldId="2147484070"/>
              <ac:spMk id="11" creationId="{2D942B9A-A55E-4682-A543-6D063B114899}"/>
            </ac:spMkLst>
          </pc:spChg>
          <pc:spChg chg="mod">
            <ac:chgData name="Pio Parma" userId="9f05d00a-e537-49d7-8068-10844eaca034" providerId="ADAL" clId="{AE5AB2BB-A16E-4143-8E58-03F5B98A59A3}" dt="2025-06-25T00:49:56.514" v="2182"/>
            <ac:spMkLst>
              <pc:docMk/>
              <pc:sldMasterMk cId="2584381504" sldId="2147484069"/>
              <pc:sldLayoutMk cId="2579759593" sldId="2147484070"/>
              <ac:spMk id="12" creationId="{23C36DDE-09C7-41CB-9CBE-B45153495ED5}"/>
            </ac:spMkLst>
          </pc:spChg>
          <pc:spChg chg="mod">
            <ac:chgData name="Pio Parma" userId="9f05d00a-e537-49d7-8068-10844eaca034" providerId="ADAL" clId="{AE5AB2BB-A16E-4143-8E58-03F5B98A59A3}" dt="2025-06-25T00:49:56.514" v="2182"/>
            <ac:spMkLst>
              <pc:docMk/>
              <pc:sldMasterMk cId="2584381504" sldId="2147484069"/>
              <pc:sldLayoutMk cId="2579759593" sldId="2147484070"/>
              <ac:spMk id="13" creationId="{63D91A6B-A4AD-471F-802C-625681E21BF9}"/>
            </ac:spMkLst>
          </pc:spChg>
          <pc:spChg chg="mod">
            <ac:chgData name="Pio Parma" userId="9f05d00a-e537-49d7-8068-10844eaca034" providerId="ADAL" clId="{AE5AB2BB-A16E-4143-8E58-03F5B98A59A3}" dt="2025-06-25T00:49:56.514" v="2182"/>
            <ac:spMkLst>
              <pc:docMk/>
              <pc:sldMasterMk cId="2584381504" sldId="2147484069"/>
              <pc:sldLayoutMk cId="2579759593" sldId="2147484070"/>
              <ac:spMk id="16" creationId="{4ED0E4C7-47E5-4FB6-807B-90C3A58DB331}"/>
            </ac:spMkLst>
          </pc:spChg>
          <pc:picChg chg="mod">
            <ac:chgData name="Pio Parma" userId="9f05d00a-e537-49d7-8068-10844eaca034" providerId="ADAL" clId="{AE5AB2BB-A16E-4143-8E58-03F5B98A59A3}" dt="2025-06-25T00:49:56.514" v="2182"/>
            <ac:picMkLst>
              <pc:docMk/>
              <pc:sldMasterMk cId="2584381504" sldId="2147484069"/>
              <pc:sldLayoutMk cId="2579759593" sldId="2147484070"/>
              <ac:picMk id="14" creationId="{119B2E5F-B3AB-4C64-9217-650FE577EDC4}"/>
            </ac:picMkLst>
          </pc:picChg>
          <pc:picChg chg="mod">
            <ac:chgData name="Pio Parma" userId="9f05d00a-e537-49d7-8068-10844eaca034" providerId="ADAL" clId="{AE5AB2BB-A16E-4143-8E58-03F5B98A59A3}" dt="2025-06-25T00:49:56.514" v="2182"/>
            <ac:picMkLst>
              <pc:docMk/>
              <pc:sldMasterMk cId="2584381504" sldId="2147484069"/>
              <pc:sldLayoutMk cId="2579759593" sldId="2147484070"/>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2584381504" sldId="2147484069"/>
            <pc:sldLayoutMk cId="1167160066" sldId="2147484071"/>
          </pc:sldLayoutMkLst>
          <pc:spChg chg="mod">
            <ac:chgData name="Pio Parma" userId="9f05d00a-e537-49d7-8068-10844eaca034" providerId="ADAL" clId="{AE5AB2BB-A16E-4143-8E58-03F5B98A59A3}" dt="2025-06-25T00:49:56.514" v="2182"/>
            <ac:spMkLst>
              <pc:docMk/>
              <pc:sldMasterMk cId="2584381504" sldId="2147484069"/>
              <pc:sldLayoutMk cId="1167160066" sldId="2147484071"/>
              <ac:spMk id="2" creationId="{AD11B1C0-E831-460E-B679-473C507CE8AF}"/>
            </ac:spMkLst>
          </pc:spChg>
          <pc:spChg chg="mod">
            <ac:chgData name="Pio Parma" userId="9f05d00a-e537-49d7-8068-10844eaca034" providerId="ADAL" clId="{AE5AB2BB-A16E-4143-8E58-03F5B98A59A3}" dt="2025-06-25T00:49:56.514" v="2182"/>
            <ac:spMkLst>
              <pc:docMk/>
              <pc:sldMasterMk cId="2584381504" sldId="2147484069"/>
              <pc:sldLayoutMk cId="1167160066" sldId="2147484071"/>
              <ac:spMk id="6" creationId="{EF52FC51-0662-4EDC-B14C-1634434B37E8}"/>
            </ac:spMkLst>
          </pc:spChg>
          <pc:spChg chg="mod">
            <ac:chgData name="Pio Parma" userId="9f05d00a-e537-49d7-8068-10844eaca034" providerId="ADAL" clId="{AE5AB2BB-A16E-4143-8E58-03F5B98A59A3}" dt="2025-06-25T00:49:56.514" v="2182"/>
            <ac:spMkLst>
              <pc:docMk/>
              <pc:sldMasterMk cId="2584381504" sldId="2147484069"/>
              <pc:sldLayoutMk cId="1167160066" sldId="2147484071"/>
              <ac:spMk id="8" creationId="{D6EB0F33-CCF1-46FD-B414-D857213FC7A2}"/>
            </ac:spMkLst>
          </pc:spChg>
          <pc:spChg chg="mod">
            <ac:chgData name="Pio Parma" userId="9f05d00a-e537-49d7-8068-10844eaca034" providerId="ADAL" clId="{AE5AB2BB-A16E-4143-8E58-03F5B98A59A3}" dt="2025-06-25T00:49:56.514" v="2182"/>
            <ac:spMkLst>
              <pc:docMk/>
              <pc:sldMasterMk cId="2584381504" sldId="2147484069"/>
              <pc:sldLayoutMk cId="1167160066" sldId="2147484071"/>
              <ac:spMk id="10" creationId="{E48C28C1-455E-4BEB-AA3B-64852673EE1D}"/>
            </ac:spMkLst>
          </pc:spChg>
          <pc:spChg chg="mod">
            <ac:chgData name="Pio Parma" userId="9f05d00a-e537-49d7-8068-10844eaca034" providerId="ADAL" clId="{AE5AB2BB-A16E-4143-8E58-03F5B98A59A3}" dt="2025-06-25T00:49:56.514" v="2182"/>
            <ac:spMkLst>
              <pc:docMk/>
              <pc:sldMasterMk cId="2584381504" sldId="2147484069"/>
              <pc:sldLayoutMk cId="1167160066" sldId="2147484071"/>
              <ac:spMk id="11" creationId="{2D942B9A-A55E-4682-A543-6D063B114899}"/>
            </ac:spMkLst>
          </pc:spChg>
          <pc:spChg chg="mod">
            <ac:chgData name="Pio Parma" userId="9f05d00a-e537-49d7-8068-10844eaca034" providerId="ADAL" clId="{AE5AB2BB-A16E-4143-8E58-03F5B98A59A3}" dt="2025-06-25T00:49:56.514" v="2182"/>
            <ac:spMkLst>
              <pc:docMk/>
              <pc:sldMasterMk cId="2584381504" sldId="2147484069"/>
              <pc:sldLayoutMk cId="1167160066" sldId="2147484071"/>
              <ac:spMk id="12" creationId="{23C36DDE-09C7-41CB-9CBE-B45153495ED5}"/>
            </ac:spMkLst>
          </pc:spChg>
          <pc:spChg chg="mod">
            <ac:chgData name="Pio Parma" userId="9f05d00a-e537-49d7-8068-10844eaca034" providerId="ADAL" clId="{AE5AB2BB-A16E-4143-8E58-03F5B98A59A3}" dt="2025-06-25T00:49:56.514" v="2182"/>
            <ac:spMkLst>
              <pc:docMk/>
              <pc:sldMasterMk cId="2584381504" sldId="2147484069"/>
              <pc:sldLayoutMk cId="1167160066" sldId="2147484071"/>
              <ac:spMk id="16" creationId="{4ED0E4C7-47E5-4FB6-807B-90C3A58DB331}"/>
            </ac:spMkLst>
          </pc:spChg>
          <pc:picChg chg="mod">
            <ac:chgData name="Pio Parma" userId="9f05d00a-e537-49d7-8068-10844eaca034" providerId="ADAL" clId="{AE5AB2BB-A16E-4143-8E58-03F5B98A59A3}" dt="2025-06-25T00:49:56.514" v="2182"/>
            <ac:picMkLst>
              <pc:docMk/>
              <pc:sldMasterMk cId="2584381504" sldId="2147484069"/>
              <pc:sldLayoutMk cId="1167160066" sldId="2147484071"/>
              <ac:picMk id="14" creationId="{119B2E5F-B3AB-4C64-9217-650FE577EDC4}"/>
            </ac:picMkLst>
          </pc:picChg>
          <pc:picChg chg="mod">
            <ac:chgData name="Pio Parma" userId="9f05d00a-e537-49d7-8068-10844eaca034" providerId="ADAL" clId="{AE5AB2BB-A16E-4143-8E58-03F5B98A59A3}" dt="2025-06-25T00:49:56.514" v="2182"/>
            <ac:picMkLst>
              <pc:docMk/>
              <pc:sldMasterMk cId="2584381504" sldId="2147484069"/>
              <pc:sldLayoutMk cId="1167160066" sldId="2147484071"/>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2584381504" sldId="2147484069"/>
            <pc:sldLayoutMk cId="3530186191" sldId="2147484072"/>
          </pc:sldLayoutMkLst>
          <pc:spChg chg="mod">
            <ac:chgData name="Pio Parma" userId="9f05d00a-e537-49d7-8068-10844eaca034" providerId="ADAL" clId="{AE5AB2BB-A16E-4143-8E58-03F5B98A59A3}" dt="2025-06-25T00:49:56.514" v="2182"/>
            <ac:spMkLst>
              <pc:docMk/>
              <pc:sldMasterMk cId="2584381504" sldId="2147484069"/>
              <pc:sldLayoutMk cId="3530186191" sldId="2147484072"/>
              <ac:spMk id="2" creationId="{34B0247E-C23A-4A31-B60B-C6B02AC79597}"/>
            </ac:spMkLst>
          </pc:spChg>
          <pc:spChg chg="mod">
            <ac:chgData name="Pio Parma" userId="9f05d00a-e537-49d7-8068-10844eaca034" providerId="ADAL" clId="{AE5AB2BB-A16E-4143-8E58-03F5B98A59A3}" dt="2025-06-25T00:49:56.514" v="2182"/>
            <ac:spMkLst>
              <pc:docMk/>
              <pc:sldMasterMk cId="2584381504" sldId="2147484069"/>
              <pc:sldLayoutMk cId="3530186191" sldId="2147484072"/>
              <ac:spMk id="6" creationId="{2997CE74-FC52-42EC-BC36-AA81E2E2126A}"/>
            </ac:spMkLst>
          </pc:spChg>
          <pc:graphicFrameChg chg="mod">
            <ac:chgData name="Pio Parma" userId="9f05d00a-e537-49d7-8068-10844eaca034" providerId="ADAL" clId="{AE5AB2BB-A16E-4143-8E58-03F5B98A59A3}" dt="2025-06-25T00:49:56.514" v="2182"/>
            <ac:graphicFrameMkLst>
              <pc:docMk/>
              <pc:sldMasterMk cId="2584381504" sldId="2147484069"/>
              <pc:sldLayoutMk cId="3530186191" sldId="2147484072"/>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2584381504" sldId="2147484069"/>
            <pc:sldLayoutMk cId="3186359385" sldId="2147484073"/>
          </pc:sldLayoutMkLst>
          <pc:spChg chg="mod">
            <ac:chgData name="Pio Parma" userId="9f05d00a-e537-49d7-8068-10844eaca034" providerId="ADAL" clId="{AE5AB2BB-A16E-4143-8E58-03F5B98A59A3}" dt="2025-06-25T00:49:56.514" v="2182"/>
            <ac:spMkLst>
              <pc:docMk/>
              <pc:sldMasterMk cId="2584381504" sldId="2147484069"/>
              <pc:sldLayoutMk cId="3186359385" sldId="2147484073"/>
              <ac:spMk id="2" creationId="{34B0247E-C23A-4A31-B60B-C6B02AC79597}"/>
            </ac:spMkLst>
          </pc:spChg>
          <pc:spChg chg="mod">
            <ac:chgData name="Pio Parma" userId="9f05d00a-e537-49d7-8068-10844eaca034" providerId="ADAL" clId="{AE5AB2BB-A16E-4143-8E58-03F5B98A59A3}" dt="2025-06-25T00:49:56.514" v="2182"/>
            <ac:spMkLst>
              <pc:docMk/>
              <pc:sldMasterMk cId="2584381504" sldId="2147484069"/>
              <pc:sldLayoutMk cId="3186359385" sldId="2147484073"/>
              <ac:spMk id="6" creationId="{2997CE74-FC52-42EC-BC36-AA81E2E2126A}"/>
            </ac:spMkLst>
          </pc:spChg>
          <pc:graphicFrameChg chg="mod">
            <ac:chgData name="Pio Parma" userId="9f05d00a-e537-49d7-8068-10844eaca034" providerId="ADAL" clId="{AE5AB2BB-A16E-4143-8E58-03F5B98A59A3}" dt="2025-06-25T00:49:56.514" v="2182"/>
            <ac:graphicFrameMkLst>
              <pc:docMk/>
              <pc:sldMasterMk cId="2584381504" sldId="2147484069"/>
              <pc:sldLayoutMk cId="3186359385" sldId="2147484073"/>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2584381504" sldId="2147484069"/>
            <pc:sldLayoutMk cId="3716085756" sldId="2147484074"/>
          </pc:sldLayoutMkLst>
          <pc:spChg chg="mod">
            <ac:chgData name="Pio Parma" userId="9f05d00a-e537-49d7-8068-10844eaca034" providerId="ADAL" clId="{AE5AB2BB-A16E-4143-8E58-03F5B98A59A3}" dt="2025-06-25T00:49:56.514" v="2182"/>
            <ac:spMkLst>
              <pc:docMk/>
              <pc:sldMasterMk cId="2584381504" sldId="2147484069"/>
              <pc:sldLayoutMk cId="3716085756" sldId="2147484074"/>
              <ac:spMk id="3" creationId="{00000000-0000-0000-0000-000000000000}"/>
            </ac:spMkLst>
          </pc:spChg>
          <pc:spChg chg="mod">
            <ac:chgData name="Pio Parma" userId="9f05d00a-e537-49d7-8068-10844eaca034" providerId="ADAL" clId="{AE5AB2BB-A16E-4143-8E58-03F5B98A59A3}" dt="2025-06-25T00:49:56.514" v="2182"/>
            <ac:spMkLst>
              <pc:docMk/>
              <pc:sldMasterMk cId="2584381504" sldId="2147484069"/>
              <pc:sldLayoutMk cId="3716085756" sldId="2147484074"/>
              <ac:spMk id="5" creationId="{E03CB189-36A0-410B-9D61-075B30C14D42}"/>
            </ac:spMkLst>
          </pc:spChg>
          <pc:picChg chg="mod">
            <ac:chgData name="Pio Parma" userId="9f05d00a-e537-49d7-8068-10844eaca034" providerId="ADAL" clId="{AE5AB2BB-A16E-4143-8E58-03F5B98A59A3}" dt="2025-06-25T00:49:56.514" v="2182"/>
            <ac:picMkLst>
              <pc:docMk/>
              <pc:sldMasterMk cId="2584381504" sldId="2147484069"/>
              <pc:sldLayoutMk cId="3716085756" sldId="2147484074"/>
              <ac:picMk id="4" creationId="{097C489D-B365-4A63-B8F6-B4DF74BAE691}"/>
            </ac:picMkLst>
          </pc:picChg>
        </pc:sldLayoutChg>
        <pc:sldLayoutChg chg="modSp">
          <pc:chgData name="Pio Parma" userId="9f05d00a-e537-49d7-8068-10844eaca034" providerId="ADAL" clId="{AE5AB2BB-A16E-4143-8E58-03F5B98A59A3}" dt="2025-06-25T00:49:56.514" v="2182"/>
          <pc:sldLayoutMkLst>
            <pc:docMk/>
            <pc:sldMasterMk cId="2584381504" sldId="2147484069"/>
            <pc:sldLayoutMk cId="1927870530" sldId="2147484075"/>
          </pc:sldLayoutMkLst>
          <pc:spChg chg="mod">
            <ac:chgData name="Pio Parma" userId="9f05d00a-e537-49d7-8068-10844eaca034" providerId="ADAL" clId="{AE5AB2BB-A16E-4143-8E58-03F5B98A59A3}" dt="2025-06-25T00:49:56.514" v="2182"/>
            <ac:spMkLst>
              <pc:docMk/>
              <pc:sldMasterMk cId="2584381504" sldId="2147484069"/>
              <pc:sldLayoutMk cId="1927870530" sldId="2147484075"/>
              <ac:spMk id="3" creationId="{00000000-0000-0000-0000-000000000000}"/>
            </ac:spMkLst>
          </pc:spChg>
          <pc:spChg chg="mod">
            <ac:chgData name="Pio Parma" userId="9f05d00a-e537-49d7-8068-10844eaca034" providerId="ADAL" clId="{AE5AB2BB-A16E-4143-8E58-03F5B98A59A3}" dt="2025-06-25T00:49:56.514" v="2182"/>
            <ac:spMkLst>
              <pc:docMk/>
              <pc:sldMasterMk cId="2584381504" sldId="2147484069"/>
              <pc:sldLayoutMk cId="1927870530" sldId="2147484075"/>
              <ac:spMk id="5" creationId="{E03CB189-36A0-410B-9D61-075B30C14D42}"/>
            </ac:spMkLst>
          </pc:spChg>
          <pc:picChg chg="mod">
            <ac:chgData name="Pio Parma" userId="9f05d00a-e537-49d7-8068-10844eaca034" providerId="ADAL" clId="{AE5AB2BB-A16E-4143-8E58-03F5B98A59A3}" dt="2025-06-25T00:49:56.514" v="2182"/>
            <ac:picMkLst>
              <pc:docMk/>
              <pc:sldMasterMk cId="2584381504" sldId="2147484069"/>
              <pc:sldLayoutMk cId="1927870530" sldId="2147484075"/>
              <ac:picMk id="4" creationId="{097C489D-B365-4A63-B8F6-B4DF74BAE691}"/>
            </ac:picMkLst>
          </pc:picChg>
        </pc:sldLayoutChg>
        <pc:sldLayoutChg chg="modSp">
          <pc:chgData name="Pio Parma" userId="9f05d00a-e537-49d7-8068-10844eaca034" providerId="ADAL" clId="{AE5AB2BB-A16E-4143-8E58-03F5B98A59A3}" dt="2025-06-25T00:49:56.514" v="2182"/>
          <pc:sldLayoutMkLst>
            <pc:docMk/>
            <pc:sldMasterMk cId="2584381504" sldId="2147484069"/>
            <pc:sldLayoutMk cId="3093796910" sldId="2147484076"/>
          </pc:sldLayoutMkLst>
          <pc:spChg chg="mod">
            <ac:chgData name="Pio Parma" userId="9f05d00a-e537-49d7-8068-10844eaca034" providerId="ADAL" clId="{AE5AB2BB-A16E-4143-8E58-03F5B98A59A3}" dt="2025-06-25T00:49:56.514" v="2182"/>
            <ac:spMkLst>
              <pc:docMk/>
              <pc:sldMasterMk cId="2584381504" sldId="2147484069"/>
              <pc:sldLayoutMk cId="3093796910" sldId="2147484076"/>
              <ac:spMk id="4" creationId="{A513269F-8769-4D15-BDFB-860623E861C9}"/>
            </ac:spMkLst>
          </pc:spChg>
          <pc:cxnChg chg="mod">
            <ac:chgData name="Pio Parma" userId="9f05d00a-e537-49d7-8068-10844eaca034" providerId="ADAL" clId="{AE5AB2BB-A16E-4143-8E58-03F5B98A59A3}" dt="2025-06-25T00:49:56.514" v="2182"/>
            <ac:cxnSpMkLst>
              <pc:docMk/>
              <pc:sldMasterMk cId="2584381504" sldId="2147484069"/>
              <pc:sldLayoutMk cId="3093796910" sldId="2147484076"/>
              <ac:cxnSpMk id="3" creationId="{480F71A9-D972-4409-A7C4-6DA65A4DD8BA}"/>
            </ac:cxnSpMkLst>
          </pc:cxnChg>
        </pc:sldLayoutChg>
        <pc:sldLayoutChg chg="modSp">
          <pc:chgData name="Pio Parma" userId="9f05d00a-e537-49d7-8068-10844eaca034" providerId="ADAL" clId="{AE5AB2BB-A16E-4143-8E58-03F5B98A59A3}" dt="2025-06-25T00:49:56.514" v="2182"/>
          <pc:sldLayoutMkLst>
            <pc:docMk/>
            <pc:sldMasterMk cId="2584381504" sldId="2147484069"/>
            <pc:sldLayoutMk cId="3495721505" sldId="2147484077"/>
          </pc:sldLayoutMkLst>
          <pc:spChg chg="mod">
            <ac:chgData name="Pio Parma" userId="9f05d00a-e537-49d7-8068-10844eaca034" providerId="ADAL" clId="{AE5AB2BB-A16E-4143-8E58-03F5B98A59A3}" dt="2025-06-25T00:49:56.514" v="2182"/>
            <ac:spMkLst>
              <pc:docMk/>
              <pc:sldMasterMk cId="2584381504" sldId="2147484069"/>
              <pc:sldLayoutMk cId="3495721505" sldId="2147484077"/>
              <ac:spMk id="4" creationId="{A513269F-8769-4D15-BDFB-860623E861C9}"/>
            </ac:spMkLst>
          </pc:spChg>
          <pc:cxnChg chg="mod">
            <ac:chgData name="Pio Parma" userId="9f05d00a-e537-49d7-8068-10844eaca034" providerId="ADAL" clId="{AE5AB2BB-A16E-4143-8E58-03F5B98A59A3}" dt="2025-06-25T00:49:56.514" v="2182"/>
            <ac:cxnSpMkLst>
              <pc:docMk/>
              <pc:sldMasterMk cId="2584381504" sldId="2147484069"/>
              <pc:sldLayoutMk cId="3495721505" sldId="2147484077"/>
              <ac:cxnSpMk id="3" creationId="{480F71A9-D972-4409-A7C4-6DA65A4DD8BA}"/>
            </ac:cxnSpMkLst>
          </pc:cxnChg>
        </pc:sldLayoutChg>
        <pc:sldLayoutChg chg="modSp">
          <pc:chgData name="Pio Parma" userId="9f05d00a-e537-49d7-8068-10844eaca034" providerId="ADAL" clId="{AE5AB2BB-A16E-4143-8E58-03F5B98A59A3}" dt="2025-06-25T00:49:56.514" v="2182"/>
          <pc:sldLayoutMkLst>
            <pc:docMk/>
            <pc:sldMasterMk cId="2584381504" sldId="2147484069"/>
            <pc:sldLayoutMk cId="3645638273" sldId="2147484078"/>
          </pc:sldLayoutMkLst>
          <pc:spChg chg="mod">
            <ac:chgData name="Pio Parma" userId="9f05d00a-e537-49d7-8068-10844eaca034" providerId="ADAL" clId="{AE5AB2BB-A16E-4143-8E58-03F5B98A59A3}" dt="2025-06-25T00:49:56.514" v="2182"/>
            <ac:spMkLst>
              <pc:docMk/>
              <pc:sldMasterMk cId="2584381504" sldId="2147484069"/>
              <pc:sldLayoutMk cId="3645638273" sldId="2147484078"/>
              <ac:spMk id="2" creationId="{AD11B1C0-E831-460E-B679-473C507CE8AF}"/>
            </ac:spMkLst>
          </pc:spChg>
          <pc:spChg chg="mod">
            <ac:chgData name="Pio Parma" userId="9f05d00a-e537-49d7-8068-10844eaca034" providerId="ADAL" clId="{AE5AB2BB-A16E-4143-8E58-03F5B98A59A3}" dt="2025-06-25T00:49:56.514" v="2182"/>
            <ac:spMkLst>
              <pc:docMk/>
              <pc:sldMasterMk cId="2584381504" sldId="2147484069"/>
              <pc:sldLayoutMk cId="3645638273" sldId="2147484078"/>
              <ac:spMk id="8" creationId="{5A3C1401-D991-47A4-B594-8E5AC6BDF054}"/>
            </ac:spMkLst>
          </pc:spChg>
          <pc:spChg chg="mod">
            <ac:chgData name="Pio Parma" userId="9f05d00a-e537-49d7-8068-10844eaca034" providerId="ADAL" clId="{AE5AB2BB-A16E-4143-8E58-03F5B98A59A3}" dt="2025-06-25T00:49:56.514" v="2182"/>
            <ac:spMkLst>
              <pc:docMk/>
              <pc:sldMasterMk cId="2584381504" sldId="2147484069"/>
              <pc:sldLayoutMk cId="3645638273" sldId="2147484078"/>
              <ac:spMk id="16" creationId="{4ED0E4C7-47E5-4FB6-807B-90C3A58DB331}"/>
            </ac:spMkLst>
          </pc:spChg>
          <pc:picChg chg="mod">
            <ac:chgData name="Pio Parma" userId="9f05d00a-e537-49d7-8068-10844eaca034" providerId="ADAL" clId="{AE5AB2BB-A16E-4143-8E58-03F5B98A59A3}" dt="2025-06-25T00:49:56.514" v="2182"/>
            <ac:picMkLst>
              <pc:docMk/>
              <pc:sldMasterMk cId="2584381504" sldId="2147484069"/>
              <pc:sldLayoutMk cId="3645638273" sldId="2147484078"/>
              <ac:picMk id="15" creationId="{212FBF0D-C989-41AA-A45F-208D7798742B}"/>
            </ac:picMkLst>
          </pc:picChg>
          <pc:picChg chg="mod">
            <ac:chgData name="Pio Parma" userId="9f05d00a-e537-49d7-8068-10844eaca034" providerId="ADAL" clId="{AE5AB2BB-A16E-4143-8E58-03F5B98A59A3}" dt="2025-06-25T00:49:56.514" v="2182"/>
            <ac:picMkLst>
              <pc:docMk/>
              <pc:sldMasterMk cId="2584381504" sldId="2147484069"/>
              <pc:sldLayoutMk cId="3645638273" sldId="2147484078"/>
              <ac:picMk id="17" creationId="{5BE25C0C-F577-4EE2-84EA-BCA174D52289}"/>
            </ac:picMkLst>
          </pc:picChg>
          <pc:picChg chg="mod">
            <ac:chgData name="Pio Parma" userId="9f05d00a-e537-49d7-8068-10844eaca034" providerId="ADAL" clId="{AE5AB2BB-A16E-4143-8E58-03F5B98A59A3}" dt="2025-06-25T00:49:56.514" v="2182"/>
            <ac:picMkLst>
              <pc:docMk/>
              <pc:sldMasterMk cId="2584381504" sldId="2147484069"/>
              <pc:sldLayoutMk cId="3645638273" sldId="2147484078"/>
              <ac:picMk id="18" creationId="{3F3B73F4-0B4C-40E3-95F7-50E353363253}"/>
            </ac:picMkLst>
          </pc:picChg>
        </pc:sldLayoutChg>
        <pc:sldLayoutChg chg="modSp">
          <pc:chgData name="Pio Parma" userId="9f05d00a-e537-49d7-8068-10844eaca034" providerId="ADAL" clId="{AE5AB2BB-A16E-4143-8E58-03F5B98A59A3}" dt="2025-06-25T00:49:56.514" v="2182"/>
          <pc:sldLayoutMkLst>
            <pc:docMk/>
            <pc:sldMasterMk cId="2584381504" sldId="2147484069"/>
            <pc:sldLayoutMk cId="1631644164" sldId="2147484079"/>
          </pc:sldLayoutMkLst>
          <pc:spChg chg="mod">
            <ac:chgData name="Pio Parma" userId="9f05d00a-e537-49d7-8068-10844eaca034" providerId="ADAL" clId="{AE5AB2BB-A16E-4143-8E58-03F5B98A59A3}" dt="2025-06-25T00:49:56.514" v="2182"/>
            <ac:spMkLst>
              <pc:docMk/>
              <pc:sldMasterMk cId="2584381504" sldId="2147484069"/>
              <pc:sldLayoutMk cId="1631644164" sldId="2147484079"/>
              <ac:spMk id="2" creationId="{AD11B1C0-E831-460E-B679-473C507CE8AF}"/>
            </ac:spMkLst>
          </pc:spChg>
          <pc:spChg chg="mod">
            <ac:chgData name="Pio Parma" userId="9f05d00a-e537-49d7-8068-10844eaca034" providerId="ADAL" clId="{AE5AB2BB-A16E-4143-8E58-03F5B98A59A3}" dt="2025-06-25T00:49:56.514" v="2182"/>
            <ac:spMkLst>
              <pc:docMk/>
              <pc:sldMasterMk cId="2584381504" sldId="2147484069"/>
              <pc:sldLayoutMk cId="1631644164" sldId="2147484079"/>
              <ac:spMk id="16" creationId="{4ED0E4C7-47E5-4FB6-807B-90C3A58DB331}"/>
            </ac:spMkLst>
          </pc:spChg>
          <pc:spChg chg="mod">
            <ac:chgData name="Pio Parma" userId="9f05d00a-e537-49d7-8068-10844eaca034" providerId="ADAL" clId="{AE5AB2BB-A16E-4143-8E58-03F5B98A59A3}" dt="2025-06-25T00:49:56.514" v="2182"/>
            <ac:spMkLst>
              <pc:docMk/>
              <pc:sldMasterMk cId="2584381504" sldId="2147484069"/>
              <pc:sldLayoutMk cId="1631644164" sldId="2147484079"/>
              <ac:spMk id="19" creationId="{4BE889EA-BA37-4F96-B04C-15487D8FAE5F}"/>
            </ac:spMkLst>
          </pc:spChg>
          <pc:picChg chg="mod">
            <ac:chgData name="Pio Parma" userId="9f05d00a-e537-49d7-8068-10844eaca034" providerId="ADAL" clId="{AE5AB2BB-A16E-4143-8E58-03F5B98A59A3}" dt="2025-06-25T00:49:56.514" v="2182"/>
            <ac:picMkLst>
              <pc:docMk/>
              <pc:sldMasterMk cId="2584381504" sldId="2147484069"/>
              <pc:sldLayoutMk cId="1631644164" sldId="2147484079"/>
              <ac:picMk id="15" creationId="{212FBF0D-C989-41AA-A45F-208D7798742B}"/>
            </ac:picMkLst>
          </pc:picChg>
          <pc:picChg chg="mod">
            <ac:chgData name="Pio Parma" userId="9f05d00a-e537-49d7-8068-10844eaca034" providerId="ADAL" clId="{AE5AB2BB-A16E-4143-8E58-03F5B98A59A3}" dt="2025-06-25T00:49:56.514" v="2182"/>
            <ac:picMkLst>
              <pc:docMk/>
              <pc:sldMasterMk cId="2584381504" sldId="2147484069"/>
              <pc:sldLayoutMk cId="1631644164" sldId="2147484079"/>
              <ac:picMk id="17" creationId="{5BE25C0C-F577-4EE2-84EA-BCA174D52289}"/>
            </ac:picMkLst>
          </pc:picChg>
          <pc:picChg chg="mod">
            <ac:chgData name="Pio Parma" userId="9f05d00a-e537-49d7-8068-10844eaca034" providerId="ADAL" clId="{AE5AB2BB-A16E-4143-8E58-03F5B98A59A3}" dt="2025-06-25T00:49:56.514" v="2182"/>
            <ac:picMkLst>
              <pc:docMk/>
              <pc:sldMasterMk cId="2584381504" sldId="2147484069"/>
              <pc:sldLayoutMk cId="1631644164" sldId="2147484079"/>
              <ac:picMk id="18" creationId="{3F3B73F4-0B4C-40E3-95F7-50E353363253}"/>
            </ac:picMkLst>
          </pc:picChg>
        </pc:sldLayoutChg>
        <pc:sldLayoutChg chg="modSp">
          <pc:chgData name="Pio Parma" userId="9f05d00a-e537-49d7-8068-10844eaca034" providerId="ADAL" clId="{AE5AB2BB-A16E-4143-8E58-03F5B98A59A3}" dt="2025-06-25T00:49:56.514" v="2182"/>
          <pc:sldLayoutMkLst>
            <pc:docMk/>
            <pc:sldMasterMk cId="2584381504" sldId="2147484069"/>
            <pc:sldLayoutMk cId="1119806775" sldId="2147484080"/>
          </pc:sldLayoutMkLst>
          <pc:spChg chg="mod">
            <ac:chgData name="Pio Parma" userId="9f05d00a-e537-49d7-8068-10844eaca034" providerId="ADAL" clId="{AE5AB2BB-A16E-4143-8E58-03F5B98A59A3}" dt="2025-06-25T00:49:56.514" v="2182"/>
            <ac:spMkLst>
              <pc:docMk/>
              <pc:sldMasterMk cId="2584381504" sldId="2147484069"/>
              <pc:sldLayoutMk cId="1119806775" sldId="2147484080"/>
              <ac:spMk id="8" creationId="{00000000-0000-0000-0000-000000000000}"/>
            </ac:spMkLst>
          </pc:spChg>
          <pc:spChg chg="mod">
            <ac:chgData name="Pio Parma" userId="9f05d00a-e537-49d7-8068-10844eaca034" providerId="ADAL" clId="{AE5AB2BB-A16E-4143-8E58-03F5B98A59A3}" dt="2025-06-25T00:49:56.514" v="2182"/>
            <ac:spMkLst>
              <pc:docMk/>
              <pc:sldMasterMk cId="2584381504" sldId="2147484069"/>
              <pc:sldLayoutMk cId="1119806775" sldId="2147484080"/>
              <ac:spMk id="42" creationId="{00000000-0000-0000-0000-000000000000}"/>
            </ac:spMkLst>
          </pc:spChg>
          <pc:picChg chg="mod">
            <ac:chgData name="Pio Parma" userId="9f05d00a-e537-49d7-8068-10844eaca034" providerId="ADAL" clId="{AE5AB2BB-A16E-4143-8E58-03F5B98A59A3}" dt="2025-06-25T00:49:56.514" v="2182"/>
            <ac:picMkLst>
              <pc:docMk/>
              <pc:sldMasterMk cId="2584381504" sldId="2147484069"/>
              <pc:sldLayoutMk cId="1119806775" sldId="2147484080"/>
              <ac:picMk id="7"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2584381504" sldId="2147484069"/>
            <pc:sldLayoutMk cId="3437849512" sldId="2147484082"/>
          </pc:sldLayoutMkLst>
          <pc:spChg chg="mod">
            <ac:chgData name="Pio Parma" userId="9f05d00a-e537-49d7-8068-10844eaca034" providerId="ADAL" clId="{AE5AB2BB-A16E-4143-8E58-03F5B98A59A3}" dt="2025-06-25T00:49:56.514" v="2182"/>
            <ac:spMkLst>
              <pc:docMk/>
              <pc:sldMasterMk cId="2584381504" sldId="2147484069"/>
              <pc:sldLayoutMk cId="3437849512" sldId="2147484082"/>
              <ac:spMk id="12" creationId="{00000000-0000-0000-0000-000000000000}"/>
            </ac:spMkLst>
          </pc:spChg>
          <pc:spChg chg="mod">
            <ac:chgData name="Pio Parma" userId="9f05d00a-e537-49d7-8068-10844eaca034" providerId="ADAL" clId="{AE5AB2BB-A16E-4143-8E58-03F5B98A59A3}" dt="2025-06-25T00:49:56.514" v="2182"/>
            <ac:spMkLst>
              <pc:docMk/>
              <pc:sldMasterMk cId="2584381504" sldId="2147484069"/>
              <pc:sldLayoutMk cId="3437849512" sldId="2147484082"/>
              <ac:spMk id="15" creationId="{BB5AFC65-E778-48CE-9D6D-3C6012A0DB4F}"/>
            </ac:spMkLst>
          </pc:spChg>
          <pc:spChg chg="mod">
            <ac:chgData name="Pio Parma" userId="9f05d00a-e537-49d7-8068-10844eaca034" providerId="ADAL" clId="{AE5AB2BB-A16E-4143-8E58-03F5B98A59A3}" dt="2025-06-25T00:49:56.514" v="2182"/>
            <ac:spMkLst>
              <pc:docMk/>
              <pc:sldMasterMk cId="2584381504" sldId="2147484069"/>
              <pc:sldLayoutMk cId="3437849512" sldId="2147484082"/>
              <ac:spMk id="68" creationId="{00000000-0000-0000-0000-000000000000}"/>
            </ac:spMkLst>
          </pc:spChg>
          <pc:picChg chg="mod">
            <ac:chgData name="Pio Parma" userId="9f05d00a-e537-49d7-8068-10844eaca034" providerId="ADAL" clId="{AE5AB2BB-A16E-4143-8E58-03F5B98A59A3}" dt="2025-06-25T00:49:56.514" v="2182"/>
            <ac:picMkLst>
              <pc:docMk/>
              <pc:sldMasterMk cId="2584381504" sldId="2147484069"/>
              <pc:sldLayoutMk cId="3437849512" sldId="2147484082"/>
              <ac:picMk id="13" creationId="{00000000-0000-0000-0000-000000000000}"/>
            </ac:picMkLst>
          </pc:picChg>
          <pc:picChg chg="mod">
            <ac:chgData name="Pio Parma" userId="9f05d00a-e537-49d7-8068-10844eaca034" providerId="ADAL" clId="{AE5AB2BB-A16E-4143-8E58-03F5B98A59A3}" dt="2025-06-25T00:49:56.514" v="2182"/>
            <ac:picMkLst>
              <pc:docMk/>
              <pc:sldMasterMk cId="2584381504" sldId="2147484069"/>
              <pc:sldLayoutMk cId="3437849512" sldId="2147484082"/>
              <ac:picMk id="60" creationId="{00000000-0000-0000-0000-000000000000}"/>
            </ac:picMkLst>
          </pc:picChg>
          <pc:picChg chg="mod">
            <ac:chgData name="Pio Parma" userId="9f05d00a-e537-49d7-8068-10844eaca034" providerId="ADAL" clId="{AE5AB2BB-A16E-4143-8E58-03F5B98A59A3}" dt="2025-06-25T00:49:56.514" v="2182"/>
            <ac:picMkLst>
              <pc:docMk/>
              <pc:sldMasterMk cId="2584381504" sldId="2147484069"/>
              <pc:sldLayoutMk cId="3437849512" sldId="2147484082"/>
              <ac:picMk id="66"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2584381504" sldId="2147484069"/>
            <pc:sldLayoutMk cId="3212248504" sldId="2147484084"/>
          </pc:sldLayoutMkLst>
          <pc:spChg chg="mod">
            <ac:chgData name="Pio Parma" userId="9f05d00a-e537-49d7-8068-10844eaca034" providerId="ADAL" clId="{AE5AB2BB-A16E-4143-8E58-03F5B98A59A3}" dt="2025-06-25T00:49:56.514" v="2182"/>
            <ac:spMkLst>
              <pc:docMk/>
              <pc:sldMasterMk cId="2584381504" sldId="2147484069"/>
              <pc:sldLayoutMk cId="3212248504" sldId="2147484084"/>
              <ac:spMk id="4" creationId="{00000000-0000-0000-0000-000000000000}"/>
            </ac:spMkLst>
          </pc:spChg>
          <pc:spChg chg="mod">
            <ac:chgData name="Pio Parma" userId="9f05d00a-e537-49d7-8068-10844eaca034" providerId="ADAL" clId="{AE5AB2BB-A16E-4143-8E58-03F5B98A59A3}" dt="2025-06-25T00:49:56.514" v="2182"/>
            <ac:spMkLst>
              <pc:docMk/>
              <pc:sldMasterMk cId="2584381504" sldId="2147484069"/>
              <pc:sldLayoutMk cId="3212248504" sldId="2147484084"/>
              <ac:spMk id="6"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2584381504" sldId="2147484069"/>
            <pc:sldLayoutMk cId="119885422" sldId="2147484091"/>
          </pc:sldLayoutMkLst>
          <pc:spChg chg="mod">
            <ac:chgData name="Pio Parma" userId="9f05d00a-e537-49d7-8068-10844eaca034" providerId="ADAL" clId="{AE5AB2BB-A16E-4143-8E58-03F5B98A59A3}" dt="2025-06-25T00:49:56.514" v="2182"/>
            <ac:spMkLst>
              <pc:docMk/>
              <pc:sldMasterMk cId="2584381504" sldId="2147484069"/>
              <pc:sldLayoutMk cId="119885422" sldId="2147484091"/>
              <ac:spMk id="8" creationId="{00000000-0000-0000-0000-000000000000}"/>
            </ac:spMkLst>
          </pc:spChg>
          <pc:spChg chg="mod">
            <ac:chgData name="Pio Parma" userId="9f05d00a-e537-49d7-8068-10844eaca034" providerId="ADAL" clId="{AE5AB2BB-A16E-4143-8E58-03F5B98A59A3}" dt="2025-06-25T00:49:56.514" v="2182"/>
            <ac:spMkLst>
              <pc:docMk/>
              <pc:sldMasterMk cId="2584381504" sldId="2147484069"/>
              <pc:sldLayoutMk cId="119885422" sldId="2147484091"/>
              <ac:spMk id="9" creationId="{00000000-0000-0000-0000-000000000000}"/>
            </ac:spMkLst>
          </pc:spChg>
        </pc:sldLayoutChg>
      </pc:sldMasterChg>
      <pc:sldMasterChg chg="modSp modSldLayout">
        <pc:chgData name="Pio Parma" userId="9f05d00a-e537-49d7-8068-10844eaca034" providerId="ADAL" clId="{AE5AB2BB-A16E-4143-8E58-03F5B98A59A3}" dt="2025-06-25T00:49:56.514" v="2182"/>
        <pc:sldMasterMkLst>
          <pc:docMk/>
          <pc:sldMasterMk cId="1934833029" sldId="2147484093"/>
        </pc:sldMasterMkLst>
        <pc:spChg chg="mod">
          <ac:chgData name="Pio Parma" userId="9f05d00a-e537-49d7-8068-10844eaca034" providerId="ADAL" clId="{AE5AB2BB-A16E-4143-8E58-03F5B98A59A3}" dt="2025-06-25T00:49:56.514" v="2182"/>
          <ac:spMkLst>
            <pc:docMk/>
            <pc:sldMasterMk cId="1934833029" sldId="2147484093"/>
            <ac:spMk id="4" creationId="{51AF4284-6C34-43A5-A2D3-3714A380BFE0}"/>
          </ac:spMkLst>
        </pc:spChg>
        <pc:spChg chg="mod">
          <ac:chgData name="Pio Parma" userId="9f05d00a-e537-49d7-8068-10844eaca034" providerId="ADAL" clId="{AE5AB2BB-A16E-4143-8E58-03F5B98A59A3}" dt="2025-06-25T00:49:56.514" v="2182"/>
          <ac:spMkLst>
            <pc:docMk/>
            <pc:sldMasterMk cId="1934833029" sldId="2147484093"/>
            <ac:spMk id="5" creationId="{223B1B66-22C7-4D9B-9009-91B4BE9340C3}"/>
          </ac:spMkLst>
        </pc:spChg>
        <pc:spChg chg="mod">
          <ac:chgData name="Pio Parma" userId="9f05d00a-e537-49d7-8068-10844eaca034" providerId="ADAL" clId="{AE5AB2BB-A16E-4143-8E58-03F5B98A59A3}" dt="2025-06-25T00:49:56.514" v="2182"/>
          <ac:spMkLst>
            <pc:docMk/>
            <pc:sldMasterMk cId="1934833029" sldId="2147484093"/>
            <ac:spMk id="15" creationId="{49832D1E-87FA-482C-A166-12681ADB4B36}"/>
          </ac:spMkLst>
        </pc:spChg>
        <pc:spChg chg="mod">
          <ac:chgData name="Pio Parma" userId="9f05d00a-e537-49d7-8068-10844eaca034" providerId="ADAL" clId="{AE5AB2BB-A16E-4143-8E58-03F5B98A59A3}" dt="2025-06-25T00:49:56.514" v="2182"/>
          <ac:spMkLst>
            <pc:docMk/>
            <pc:sldMasterMk cId="1934833029" sldId="2147484093"/>
            <ac:spMk id="1033" creationId="{E3EA3DAB-BB25-4C0C-B7A9-7DAEF0B13306}"/>
          </ac:spMkLst>
        </pc:spChg>
        <pc:graphicFrameChg chg="mod">
          <ac:chgData name="Pio Parma" userId="9f05d00a-e537-49d7-8068-10844eaca034" providerId="ADAL" clId="{AE5AB2BB-A16E-4143-8E58-03F5B98A59A3}" dt="2025-06-25T00:49:56.514" v="2182"/>
          <ac:graphicFrameMkLst>
            <pc:docMk/>
            <pc:sldMasterMk cId="1934833029" sldId="2147484093"/>
            <ac:graphicFrameMk id="3" creationId="{51E3A767-D8D3-4A34-BCBD-96D6C494F544}"/>
          </ac:graphicFrameMkLst>
        </pc:graphicFrameChg>
        <pc:picChg chg="mod">
          <ac:chgData name="Pio Parma" userId="9f05d00a-e537-49d7-8068-10844eaca034" providerId="ADAL" clId="{AE5AB2BB-A16E-4143-8E58-03F5B98A59A3}" dt="2025-06-25T00:49:56.514" v="2182"/>
          <ac:picMkLst>
            <pc:docMk/>
            <pc:sldMasterMk cId="1934833029" sldId="2147484093"/>
            <ac:picMk id="6" creationId="{78A22B2E-110C-6630-3603-21584F9CDACB}"/>
          </ac:picMkLst>
        </pc:picChg>
        <pc:picChg chg="mod">
          <ac:chgData name="Pio Parma" userId="9f05d00a-e537-49d7-8068-10844eaca034" providerId="ADAL" clId="{AE5AB2BB-A16E-4143-8E58-03F5B98A59A3}" dt="2025-06-25T00:49:56.514" v="2182"/>
          <ac:picMkLst>
            <pc:docMk/>
            <pc:sldMasterMk cId="1934833029" sldId="2147484093"/>
            <ac:picMk id="14" creationId="{168F8B35-366F-48D5-AE67-32103A49E414}"/>
          </ac:picMkLst>
        </pc:picChg>
        <pc:cxnChg chg="mod">
          <ac:chgData name="Pio Parma" userId="9f05d00a-e537-49d7-8068-10844eaca034" providerId="ADAL" clId="{AE5AB2BB-A16E-4143-8E58-03F5B98A59A3}" dt="2025-06-25T00:49:56.514" v="2182"/>
          <ac:cxnSpMkLst>
            <pc:docMk/>
            <pc:sldMasterMk cId="1934833029" sldId="2147484093"/>
            <ac:cxnSpMk id="13" creationId="{C3CCA961-8D61-45BA-B27F-FB2DFAF75489}"/>
          </ac:cxnSpMkLst>
        </pc:cxnChg>
        <pc:sldLayoutChg chg="modSp">
          <pc:chgData name="Pio Parma" userId="9f05d00a-e537-49d7-8068-10844eaca034" providerId="ADAL" clId="{AE5AB2BB-A16E-4143-8E58-03F5B98A59A3}" dt="2025-06-25T00:49:56.514" v="2182"/>
          <pc:sldLayoutMkLst>
            <pc:docMk/>
            <pc:sldMasterMk cId="1934833029" sldId="2147484093"/>
            <pc:sldLayoutMk cId="3617775697" sldId="2147484094"/>
          </pc:sldLayoutMkLst>
          <pc:spChg chg="mod">
            <ac:chgData name="Pio Parma" userId="9f05d00a-e537-49d7-8068-10844eaca034" providerId="ADAL" clId="{AE5AB2BB-A16E-4143-8E58-03F5B98A59A3}" dt="2025-06-25T00:49:56.514" v="2182"/>
            <ac:spMkLst>
              <pc:docMk/>
              <pc:sldMasterMk cId="1934833029" sldId="2147484093"/>
              <pc:sldLayoutMk cId="3617775697" sldId="2147484094"/>
              <ac:spMk id="2" creationId="{AD11B1C0-E831-460E-B679-473C507CE8AF}"/>
            </ac:spMkLst>
          </pc:spChg>
          <pc:spChg chg="mod">
            <ac:chgData name="Pio Parma" userId="9f05d00a-e537-49d7-8068-10844eaca034" providerId="ADAL" clId="{AE5AB2BB-A16E-4143-8E58-03F5B98A59A3}" dt="2025-06-25T00:49:56.514" v="2182"/>
            <ac:spMkLst>
              <pc:docMk/>
              <pc:sldMasterMk cId="1934833029" sldId="2147484093"/>
              <pc:sldLayoutMk cId="3617775697" sldId="2147484094"/>
              <ac:spMk id="10" creationId="{E48C28C1-455E-4BEB-AA3B-64852673EE1D}"/>
            </ac:spMkLst>
          </pc:spChg>
          <pc:spChg chg="mod">
            <ac:chgData name="Pio Parma" userId="9f05d00a-e537-49d7-8068-10844eaca034" providerId="ADAL" clId="{AE5AB2BB-A16E-4143-8E58-03F5B98A59A3}" dt="2025-06-25T00:49:56.514" v="2182"/>
            <ac:spMkLst>
              <pc:docMk/>
              <pc:sldMasterMk cId="1934833029" sldId="2147484093"/>
              <pc:sldLayoutMk cId="3617775697" sldId="2147484094"/>
              <ac:spMk id="11" creationId="{2D942B9A-A55E-4682-A543-6D063B114899}"/>
            </ac:spMkLst>
          </pc:spChg>
          <pc:spChg chg="mod">
            <ac:chgData name="Pio Parma" userId="9f05d00a-e537-49d7-8068-10844eaca034" providerId="ADAL" clId="{AE5AB2BB-A16E-4143-8E58-03F5B98A59A3}" dt="2025-06-25T00:49:56.514" v="2182"/>
            <ac:spMkLst>
              <pc:docMk/>
              <pc:sldMasterMk cId="1934833029" sldId="2147484093"/>
              <pc:sldLayoutMk cId="3617775697" sldId="2147484094"/>
              <ac:spMk id="12" creationId="{23C36DDE-09C7-41CB-9CBE-B45153495ED5}"/>
            </ac:spMkLst>
          </pc:spChg>
          <pc:spChg chg="mod">
            <ac:chgData name="Pio Parma" userId="9f05d00a-e537-49d7-8068-10844eaca034" providerId="ADAL" clId="{AE5AB2BB-A16E-4143-8E58-03F5B98A59A3}" dt="2025-06-25T00:49:56.514" v="2182"/>
            <ac:spMkLst>
              <pc:docMk/>
              <pc:sldMasterMk cId="1934833029" sldId="2147484093"/>
              <pc:sldLayoutMk cId="3617775697" sldId="2147484094"/>
              <ac:spMk id="16" creationId="{4ED0E4C7-47E5-4FB6-807B-90C3A58DB331}"/>
            </ac:spMkLst>
          </pc:spChg>
          <pc:picChg chg="mod">
            <ac:chgData name="Pio Parma" userId="9f05d00a-e537-49d7-8068-10844eaca034" providerId="ADAL" clId="{AE5AB2BB-A16E-4143-8E58-03F5B98A59A3}" dt="2025-06-25T00:49:56.514" v="2182"/>
            <ac:picMkLst>
              <pc:docMk/>
              <pc:sldMasterMk cId="1934833029" sldId="2147484093"/>
              <pc:sldLayoutMk cId="3617775697" sldId="2147484094"/>
              <ac:picMk id="3" creationId="{AF1AA52D-1F29-BA58-1F84-7DCA05BA6A29}"/>
            </ac:picMkLst>
          </pc:picChg>
          <pc:picChg chg="mod">
            <ac:chgData name="Pio Parma" userId="9f05d00a-e537-49d7-8068-10844eaca034" providerId="ADAL" clId="{AE5AB2BB-A16E-4143-8E58-03F5B98A59A3}" dt="2025-06-25T00:49:56.514" v="2182"/>
            <ac:picMkLst>
              <pc:docMk/>
              <pc:sldMasterMk cId="1934833029" sldId="2147484093"/>
              <pc:sldLayoutMk cId="3617775697" sldId="2147484094"/>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1934833029" sldId="2147484093"/>
            <pc:sldLayoutMk cId="2086073439" sldId="2147484095"/>
          </pc:sldLayoutMkLst>
          <pc:spChg chg="mod">
            <ac:chgData name="Pio Parma" userId="9f05d00a-e537-49d7-8068-10844eaca034" providerId="ADAL" clId="{AE5AB2BB-A16E-4143-8E58-03F5B98A59A3}" dt="2025-06-25T00:49:56.514" v="2182"/>
            <ac:spMkLst>
              <pc:docMk/>
              <pc:sldMasterMk cId="1934833029" sldId="2147484093"/>
              <pc:sldLayoutMk cId="2086073439" sldId="2147484095"/>
              <ac:spMk id="2" creationId="{34B0247E-C23A-4A31-B60B-C6B02AC79597}"/>
            </ac:spMkLst>
          </pc:spChg>
        </pc:sldLayoutChg>
        <pc:sldLayoutChg chg="modSp">
          <pc:chgData name="Pio Parma" userId="9f05d00a-e537-49d7-8068-10844eaca034" providerId="ADAL" clId="{AE5AB2BB-A16E-4143-8E58-03F5B98A59A3}" dt="2025-06-25T00:49:56.514" v="2182"/>
          <pc:sldLayoutMkLst>
            <pc:docMk/>
            <pc:sldMasterMk cId="1934833029" sldId="2147484093"/>
            <pc:sldLayoutMk cId="1567263257" sldId="2147484096"/>
          </pc:sldLayoutMkLst>
          <pc:spChg chg="mod">
            <ac:chgData name="Pio Parma" userId="9f05d00a-e537-49d7-8068-10844eaca034" providerId="ADAL" clId="{AE5AB2BB-A16E-4143-8E58-03F5B98A59A3}" dt="2025-06-25T00:49:56.514" v="2182"/>
            <ac:spMkLst>
              <pc:docMk/>
              <pc:sldMasterMk cId="1934833029" sldId="2147484093"/>
              <pc:sldLayoutMk cId="1567263257" sldId="2147484096"/>
              <ac:spMk id="2" creationId="{34B0247E-C23A-4A31-B60B-C6B02AC79597}"/>
            </ac:spMkLst>
          </pc:spChg>
        </pc:sldLayoutChg>
        <pc:sldLayoutChg chg="modSp">
          <pc:chgData name="Pio Parma" userId="9f05d00a-e537-49d7-8068-10844eaca034" providerId="ADAL" clId="{AE5AB2BB-A16E-4143-8E58-03F5B98A59A3}" dt="2025-06-25T00:49:56.514" v="2182"/>
          <pc:sldLayoutMkLst>
            <pc:docMk/>
            <pc:sldMasterMk cId="1934833029" sldId="2147484093"/>
            <pc:sldLayoutMk cId="1234372929" sldId="2147484097"/>
          </pc:sldLayoutMkLst>
          <pc:spChg chg="mod">
            <ac:chgData name="Pio Parma" userId="9f05d00a-e537-49d7-8068-10844eaca034" providerId="ADAL" clId="{AE5AB2BB-A16E-4143-8E58-03F5B98A59A3}" dt="2025-06-25T00:49:56.514" v="2182"/>
            <ac:spMkLst>
              <pc:docMk/>
              <pc:sldMasterMk cId="1934833029" sldId="2147484093"/>
              <pc:sldLayoutMk cId="1234372929" sldId="2147484097"/>
              <ac:spMk id="2" creationId="{B20D817E-C4FA-4351-999F-7171C217DD33}"/>
            </ac:spMkLst>
          </pc:spChg>
        </pc:sldLayoutChg>
        <pc:sldLayoutChg chg="modSp">
          <pc:chgData name="Pio Parma" userId="9f05d00a-e537-49d7-8068-10844eaca034" providerId="ADAL" clId="{AE5AB2BB-A16E-4143-8E58-03F5B98A59A3}" dt="2025-06-25T00:49:56.514" v="2182"/>
          <pc:sldLayoutMkLst>
            <pc:docMk/>
            <pc:sldMasterMk cId="1934833029" sldId="2147484093"/>
            <pc:sldLayoutMk cId="509614969" sldId="2147484098"/>
          </pc:sldLayoutMkLst>
          <pc:spChg chg="mod">
            <ac:chgData name="Pio Parma" userId="9f05d00a-e537-49d7-8068-10844eaca034" providerId="ADAL" clId="{AE5AB2BB-A16E-4143-8E58-03F5B98A59A3}" dt="2025-06-25T00:49:56.514" v="2182"/>
            <ac:spMkLst>
              <pc:docMk/>
              <pc:sldMasterMk cId="1934833029" sldId="2147484093"/>
              <pc:sldLayoutMk cId="509614969" sldId="2147484098"/>
              <ac:spMk id="4" creationId="{00000000-0000-0000-0000-000000000000}"/>
            </ac:spMkLst>
          </pc:spChg>
          <pc:spChg chg="mod">
            <ac:chgData name="Pio Parma" userId="9f05d00a-e537-49d7-8068-10844eaca034" providerId="ADAL" clId="{AE5AB2BB-A16E-4143-8E58-03F5B98A59A3}" dt="2025-06-25T00:49:56.514" v="2182"/>
            <ac:spMkLst>
              <pc:docMk/>
              <pc:sldMasterMk cId="1934833029" sldId="2147484093"/>
              <pc:sldLayoutMk cId="509614969" sldId="2147484098"/>
              <ac:spMk id="9"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1934833029" sldId="2147484093"/>
            <pc:sldLayoutMk cId="2542121268" sldId="2147484099"/>
          </pc:sldLayoutMkLst>
          <pc:spChg chg="mod">
            <ac:chgData name="Pio Parma" userId="9f05d00a-e537-49d7-8068-10844eaca034" providerId="ADAL" clId="{AE5AB2BB-A16E-4143-8E58-03F5B98A59A3}" dt="2025-06-25T00:49:56.514" v="2182"/>
            <ac:spMkLst>
              <pc:docMk/>
              <pc:sldMasterMk cId="1934833029" sldId="2147484093"/>
              <pc:sldLayoutMk cId="2542121268" sldId="2147484099"/>
              <ac:spMk id="4" creationId="{00000000-0000-0000-0000-000000000000}"/>
            </ac:spMkLst>
          </pc:spChg>
          <pc:spChg chg="mod">
            <ac:chgData name="Pio Parma" userId="9f05d00a-e537-49d7-8068-10844eaca034" providerId="ADAL" clId="{AE5AB2BB-A16E-4143-8E58-03F5B98A59A3}" dt="2025-06-25T00:49:56.514" v="2182"/>
            <ac:spMkLst>
              <pc:docMk/>
              <pc:sldMasterMk cId="1934833029" sldId="2147484093"/>
              <pc:sldLayoutMk cId="2542121268" sldId="2147484099"/>
              <ac:spMk id="5"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1934833029" sldId="2147484093"/>
            <pc:sldLayoutMk cId="4201389713" sldId="2147484100"/>
          </pc:sldLayoutMkLst>
          <pc:spChg chg="mod">
            <ac:chgData name="Pio Parma" userId="9f05d00a-e537-49d7-8068-10844eaca034" providerId="ADAL" clId="{AE5AB2BB-A16E-4143-8E58-03F5B98A59A3}" dt="2025-06-25T00:49:56.514" v="2182"/>
            <ac:spMkLst>
              <pc:docMk/>
              <pc:sldMasterMk cId="1934833029" sldId="2147484093"/>
              <pc:sldLayoutMk cId="4201389713" sldId="2147484100"/>
              <ac:spMk id="6" creationId="{00000000-0000-0000-0000-000000000000}"/>
            </ac:spMkLst>
          </pc:spChg>
          <pc:spChg chg="mod">
            <ac:chgData name="Pio Parma" userId="9f05d00a-e537-49d7-8068-10844eaca034" providerId="ADAL" clId="{AE5AB2BB-A16E-4143-8E58-03F5B98A59A3}" dt="2025-06-25T00:49:56.514" v="2182"/>
            <ac:spMkLst>
              <pc:docMk/>
              <pc:sldMasterMk cId="1934833029" sldId="2147484093"/>
              <pc:sldLayoutMk cId="4201389713" sldId="2147484100"/>
              <ac:spMk id="15"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1934833029" sldId="2147484093"/>
            <pc:sldLayoutMk cId="1389100791" sldId="2147484102"/>
          </pc:sldLayoutMkLst>
          <pc:spChg chg="mod">
            <ac:chgData name="Pio Parma" userId="9f05d00a-e537-49d7-8068-10844eaca034" providerId="ADAL" clId="{AE5AB2BB-A16E-4143-8E58-03F5B98A59A3}" dt="2025-06-25T00:49:56.514" v="2182"/>
            <ac:spMkLst>
              <pc:docMk/>
              <pc:sldMasterMk cId="1934833029" sldId="2147484093"/>
              <pc:sldLayoutMk cId="1389100791" sldId="2147484102"/>
              <ac:spMk id="3" creationId="{00000000-0000-0000-0000-000000000000}"/>
            </ac:spMkLst>
          </pc:spChg>
          <pc:spChg chg="mod">
            <ac:chgData name="Pio Parma" userId="9f05d00a-e537-49d7-8068-10844eaca034" providerId="ADAL" clId="{AE5AB2BB-A16E-4143-8E58-03F5B98A59A3}" dt="2025-06-25T00:49:56.514" v="2182"/>
            <ac:spMkLst>
              <pc:docMk/>
              <pc:sldMasterMk cId="1934833029" sldId="2147484093"/>
              <pc:sldLayoutMk cId="1389100791" sldId="2147484102"/>
              <ac:spMk id="7" creationId="{00000000-0000-0000-0000-000000000000}"/>
            </ac:spMkLst>
          </pc:spChg>
          <pc:picChg chg="mod">
            <ac:chgData name="Pio Parma" userId="9f05d00a-e537-49d7-8068-10844eaca034" providerId="ADAL" clId="{AE5AB2BB-A16E-4143-8E58-03F5B98A59A3}" dt="2025-06-25T00:49:56.514" v="2182"/>
            <ac:picMkLst>
              <pc:docMk/>
              <pc:sldMasterMk cId="1934833029" sldId="2147484093"/>
              <pc:sldLayoutMk cId="1389100791" sldId="2147484102"/>
              <ac:picMk id="4" creationId="{EE26DE63-0830-4EAA-ADA1-8B2FFC167643}"/>
            </ac:picMkLst>
          </pc:picChg>
        </pc:sldLayoutChg>
        <pc:sldLayoutChg chg="modSp">
          <pc:chgData name="Pio Parma" userId="9f05d00a-e537-49d7-8068-10844eaca034" providerId="ADAL" clId="{AE5AB2BB-A16E-4143-8E58-03F5B98A59A3}" dt="2025-06-25T00:49:56.514" v="2182"/>
          <pc:sldLayoutMkLst>
            <pc:docMk/>
            <pc:sldMasterMk cId="1934833029" sldId="2147484093"/>
            <pc:sldLayoutMk cId="1151727253" sldId="2147484103"/>
          </pc:sldLayoutMkLst>
          <pc:spChg chg="mod">
            <ac:chgData name="Pio Parma" userId="9f05d00a-e537-49d7-8068-10844eaca034" providerId="ADAL" clId="{AE5AB2BB-A16E-4143-8E58-03F5B98A59A3}" dt="2025-06-25T00:49:56.514" v="2182"/>
            <ac:spMkLst>
              <pc:docMk/>
              <pc:sldMasterMk cId="1934833029" sldId="2147484093"/>
              <pc:sldLayoutMk cId="1151727253" sldId="2147484103"/>
              <ac:spMk id="3" creationId="{00000000-0000-0000-0000-000000000000}"/>
            </ac:spMkLst>
          </pc:spChg>
          <pc:spChg chg="mod">
            <ac:chgData name="Pio Parma" userId="9f05d00a-e537-49d7-8068-10844eaca034" providerId="ADAL" clId="{AE5AB2BB-A16E-4143-8E58-03F5B98A59A3}" dt="2025-06-25T00:49:56.514" v="2182"/>
            <ac:spMkLst>
              <pc:docMk/>
              <pc:sldMasterMk cId="1934833029" sldId="2147484093"/>
              <pc:sldLayoutMk cId="1151727253" sldId="2147484103"/>
              <ac:spMk id="7" creationId="{00000000-0000-0000-0000-000000000000}"/>
            </ac:spMkLst>
          </pc:spChg>
          <pc:picChg chg="mod">
            <ac:chgData name="Pio Parma" userId="9f05d00a-e537-49d7-8068-10844eaca034" providerId="ADAL" clId="{AE5AB2BB-A16E-4143-8E58-03F5B98A59A3}" dt="2025-06-25T00:49:56.514" v="2182"/>
            <ac:picMkLst>
              <pc:docMk/>
              <pc:sldMasterMk cId="1934833029" sldId="2147484093"/>
              <pc:sldLayoutMk cId="1151727253" sldId="2147484103"/>
              <ac:picMk id="4" creationId="{097C489D-B365-4A63-B8F6-B4DF74BAE691}"/>
            </ac:picMkLst>
          </pc:picChg>
        </pc:sldLayoutChg>
        <pc:sldLayoutChg chg="modSp">
          <pc:chgData name="Pio Parma" userId="9f05d00a-e537-49d7-8068-10844eaca034" providerId="ADAL" clId="{AE5AB2BB-A16E-4143-8E58-03F5B98A59A3}" dt="2025-06-25T00:49:56.514" v="2182"/>
          <pc:sldLayoutMkLst>
            <pc:docMk/>
            <pc:sldMasterMk cId="1934833029" sldId="2147484093"/>
            <pc:sldLayoutMk cId="3502950810" sldId="2147484105"/>
          </pc:sldLayoutMkLst>
          <pc:spChg chg="mod">
            <ac:chgData name="Pio Parma" userId="9f05d00a-e537-49d7-8068-10844eaca034" providerId="ADAL" clId="{AE5AB2BB-A16E-4143-8E58-03F5B98A59A3}" dt="2025-06-25T00:49:56.514" v="2182"/>
            <ac:spMkLst>
              <pc:docMk/>
              <pc:sldMasterMk cId="1934833029" sldId="2147484093"/>
              <pc:sldLayoutMk cId="3502950810" sldId="2147484105"/>
              <ac:spMk id="2" creationId="{34B0247E-C23A-4A31-B60B-C6B02AC79597}"/>
            </ac:spMkLst>
          </pc:spChg>
          <pc:spChg chg="mod">
            <ac:chgData name="Pio Parma" userId="9f05d00a-e537-49d7-8068-10844eaca034" providerId="ADAL" clId="{AE5AB2BB-A16E-4143-8E58-03F5B98A59A3}" dt="2025-06-25T00:49:56.514" v="2182"/>
            <ac:spMkLst>
              <pc:docMk/>
              <pc:sldMasterMk cId="1934833029" sldId="2147484093"/>
              <pc:sldLayoutMk cId="3502950810" sldId="2147484105"/>
              <ac:spMk id="3" creationId="{2B8A8D61-C940-42D6-A3CB-0F8A067068A9}"/>
            </ac:spMkLst>
          </pc:spChg>
        </pc:sldLayoutChg>
        <pc:sldLayoutChg chg="modSp">
          <pc:chgData name="Pio Parma" userId="9f05d00a-e537-49d7-8068-10844eaca034" providerId="ADAL" clId="{AE5AB2BB-A16E-4143-8E58-03F5B98A59A3}" dt="2025-06-25T00:49:56.514" v="2182"/>
          <pc:sldLayoutMkLst>
            <pc:docMk/>
            <pc:sldMasterMk cId="1934833029" sldId="2147484093"/>
            <pc:sldLayoutMk cId="2610654858" sldId="2147484106"/>
          </pc:sldLayoutMkLst>
          <pc:spChg chg="mod">
            <ac:chgData name="Pio Parma" userId="9f05d00a-e537-49d7-8068-10844eaca034" providerId="ADAL" clId="{AE5AB2BB-A16E-4143-8E58-03F5B98A59A3}" dt="2025-06-25T00:49:56.514" v="2182"/>
            <ac:spMkLst>
              <pc:docMk/>
              <pc:sldMasterMk cId="1934833029" sldId="2147484093"/>
              <pc:sldLayoutMk cId="2610654858" sldId="2147484106"/>
              <ac:spMk id="4" creationId="{A513269F-8769-4D15-BDFB-860623E861C9}"/>
            </ac:spMkLst>
          </pc:spChg>
          <pc:cxnChg chg="mod">
            <ac:chgData name="Pio Parma" userId="9f05d00a-e537-49d7-8068-10844eaca034" providerId="ADAL" clId="{AE5AB2BB-A16E-4143-8E58-03F5B98A59A3}" dt="2025-06-25T00:49:56.514" v="2182"/>
            <ac:cxnSpMkLst>
              <pc:docMk/>
              <pc:sldMasterMk cId="1934833029" sldId="2147484093"/>
              <pc:sldLayoutMk cId="2610654858" sldId="2147484106"/>
              <ac:cxnSpMk id="3" creationId="{480F71A9-D972-4409-A7C4-6DA65A4DD8BA}"/>
            </ac:cxnSpMkLst>
          </pc:cxnChg>
        </pc:sldLayoutChg>
        <pc:sldLayoutChg chg="modSp">
          <pc:chgData name="Pio Parma" userId="9f05d00a-e537-49d7-8068-10844eaca034" providerId="ADAL" clId="{AE5AB2BB-A16E-4143-8E58-03F5B98A59A3}" dt="2025-06-25T00:49:56.514" v="2182"/>
          <pc:sldLayoutMkLst>
            <pc:docMk/>
            <pc:sldMasterMk cId="1934833029" sldId="2147484093"/>
            <pc:sldLayoutMk cId="4129167375" sldId="2147484107"/>
          </pc:sldLayoutMkLst>
          <pc:spChg chg="mod">
            <ac:chgData name="Pio Parma" userId="9f05d00a-e537-49d7-8068-10844eaca034" providerId="ADAL" clId="{AE5AB2BB-A16E-4143-8E58-03F5B98A59A3}" dt="2025-06-25T00:49:56.514" v="2182"/>
            <ac:spMkLst>
              <pc:docMk/>
              <pc:sldMasterMk cId="1934833029" sldId="2147484093"/>
              <pc:sldLayoutMk cId="4129167375" sldId="2147484107"/>
              <ac:spMk id="9" creationId="{00000000-0000-0000-0000-000000000000}"/>
            </ac:spMkLst>
          </pc:spChg>
          <pc:spChg chg="mod">
            <ac:chgData name="Pio Parma" userId="9f05d00a-e537-49d7-8068-10844eaca034" providerId="ADAL" clId="{AE5AB2BB-A16E-4143-8E58-03F5B98A59A3}" dt="2025-06-25T00:49:56.514" v="2182"/>
            <ac:spMkLst>
              <pc:docMk/>
              <pc:sldMasterMk cId="1934833029" sldId="2147484093"/>
              <pc:sldLayoutMk cId="4129167375" sldId="2147484107"/>
              <ac:spMk id="11"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1934833029" sldId="2147484093"/>
            <pc:sldLayoutMk cId="2304649774" sldId="2147484108"/>
          </pc:sldLayoutMkLst>
          <pc:spChg chg="mod">
            <ac:chgData name="Pio Parma" userId="9f05d00a-e537-49d7-8068-10844eaca034" providerId="ADAL" clId="{AE5AB2BB-A16E-4143-8E58-03F5B98A59A3}" dt="2025-06-25T00:49:56.514" v="2182"/>
            <ac:spMkLst>
              <pc:docMk/>
              <pc:sldMasterMk cId="1934833029" sldId="2147484093"/>
              <pc:sldLayoutMk cId="2304649774" sldId="2147484108"/>
              <ac:spMk id="4" creationId="{00000000-0000-0000-0000-000000000000}"/>
            </ac:spMkLst>
          </pc:spChg>
          <pc:spChg chg="mod">
            <ac:chgData name="Pio Parma" userId="9f05d00a-e537-49d7-8068-10844eaca034" providerId="ADAL" clId="{AE5AB2BB-A16E-4143-8E58-03F5B98A59A3}" dt="2025-06-25T00:49:56.514" v="2182"/>
            <ac:spMkLst>
              <pc:docMk/>
              <pc:sldMasterMk cId="1934833029" sldId="2147484093"/>
              <pc:sldLayoutMk cId="2304649774" sldId="2147484108"/>
              <ac:spMk id="5"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1934833029" sldId="2147484093"/>
            <pc:sldLayoutMk cId="2031129496" sldId="2147484109"/>
          </pc:sldLayoutMkLst>
          <pc:spChg chg="mod">
            <ac:chgData name="Pio Parma" userId="9f05d00a-e537-49d7-8068-10844eaca034" providerId="ADAL" clId="{AE5AB2BB-A16E-4143-8E58-03F5B98A59A3}" dt="2025-06-25T00:49:56.514" v="2182"/>
            <ac:spMkLst>
              <pc:docMk/>
              <pc:sldMasterMk cId="1934833029" sldId="2147484093"/>
              <pc:sldLayoutMk cId="2031129496" sldId="2147484109"/>
              <ac:spMk id="8" creationId="{00000000-0000-0000-0000-000000000000}"/>
            </ac:spMkLst>
          </pc:spChg>
          <pc:spChg chg="mod">
            <ac:chgData name="Pio Parma" userId="9f05d00a-e537-49d7-8068-10844eaca034" providerId="ADAL" clId="{AE5AB2BB-A16E-4143-8E58-03F5B98A59A3}" dt="2025-06-25T00:49:56.514" v="2182"/>
            <ac:spMkLst>
              <pc:docMk/>
              <pc:sldMasterMk cId="1934833029" sldId="2147484093"/>
              <pc:sldLayoutMk cId="2031129496" sldId="2147484109"/>
              <ac:spMk id="9" creationId="{00000000-0000-0000-0000-000000000000}"/>
            </ac:spMkLst>
          </pc:spChg>
        </pc:sldLayoutChg>
        <pc:sldLayoutChg chg="modSp">
          <pc:chgData name="Pio Parma" userId="9f05d00a-e537-49d7-8068-10844eaca034" providerId="ADAL" clId="{AE5AB2BB-A16E-4143-8E58-03F5B98A59A3}" dt="2025-06-25T00:49:56.514" v="2182"/>
          <pc:sldLayoutMkLst>
            <pc:docMk/>
            <pc:sldMasterMk cId="1934833029" sldId="2147484093"/>
            <pc:sldLayoutMk cId="2433788487" sldId="2147484111"/>
          </pc:sldLayoutMkLst>
          <pc:spChg chg="mod">
            <ac:chgData name="Pio Parma" userId="9f05d00a-e537-49d7-8068-10844eaca034" providerId="ADAL" clId="{AE5AB2BB-A16E-4143-8E58-03F5B98A59A3}" dt="2025-06-25T00:49:56.514" v="2182"/>
            <ac:spMkLst>
              <pc:docMk/>
              <pc:sldMasterMk cId="1934833029" sldId="2147484093"/>
              <pc:sldLayoutMk cId="2433788487" sldId="2147484111"/>
              <ac:spMk id="17" creationId="{6990FCCA-7A0D-4536-8AAA-3EFEE95F91AA}"/>
            </ac:spMkLst>
          </pc:spChg>
          <pc:picChg chg="mod">
            <ac:chgData name="Pio Parma" userId="9f05d00a-e537-49d7-8068-10844eaca034" providerId="ADAL" clId="{AE5AB2BB-A16E-4143-8E58-03F5B98A59A3}" dt="2025-06-25T00:49:56.514" v="2182"/>
            <ac:picMkLst>
              <pc:docMk/>
              <pc:sldMasterMk cId="1934833029" sldId="2147484093"/>
              <pc:sldLayoutMk cId="2433788487" sldId="2147484111"/>
              <ac:picMk id="15"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1934833029" sldId="2147484093"/>
            <pc:sldLayoutMk cId="3112307249" sldId="2147484112"/>
          </pc:sldLayoutMkLst>
          <pc:spChg chg="mod">
            <ac:chgData name="Pio Parma" userId="9f05d00a-e537-49d7-8068-10844eaca034" providerId="ADAL" clId="{AE5AB2BB-A16E-4143-8E58-03F5B98A59A3}" dt="2025-06-25T00:49:56.514" v="2182"/>
            <ac:spMkLst>
              <pc:docMk/>
              <pc:sldMasterMk cId="1934833029" sldId="2147484093"/>
              <pc:sldLayoutMk cId="3112307249" sldId="2147484112"/>
              <ac:spMk id="12" creationId="{6990FCCA-7A0D-4536-8AAA-3EFEE95F91AA}"/>
            </ac:spMkLst>
          </pc:spChg>
          <pc:picChg chg="mod">
            <ac:chgData name="Pio Parma" userId="9f05d00a-e537-49d7-8068-10844eaca034" providerId="ADAL" clId="{AE5AB2BB-A16E-4143-8E58-03F5B98A59A3}" dt="2025-06-25T00:49:56.514" v="2182"/>
            <ac:picMkLst>
              <pc:docMk/>
              <pc:sldMasterMk cId="1934833029" sldId="2147484093"/>
              <pc:sldLayoutMk cId="3112307249" sldId="2147484112"/>
              <ac:picMk id="10"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1934833029" sldId="2147484093"/>
            <pc:sldLayoutMk cId="870295512" sldId="2147484113"/>
          </pc:sldLayoutMkLst>
          <pc:spChg chg="mod">
            <ac:chgData name="Pio Parma" userId="9f05d00a-e537-49d7-8068-10844eaca034" providerId="ADAL" clId="{AE5AB2BB-A16E-4143-8E58-03F5B98A59A3}" dt="2025-06-25T00:49:56.514" v="2182"/>
            <ac:spMkLst>
              <pc:docMk/>
              <pc:sldMasterMk cId="1934833029" sldId="2147484093"/>
              <pc:sldLayoutMk cId="870295512" sldId="2147484113"/>
              <ac:spMk id="8" creationId="{6990FCCA-7A0D-4536-8AAA-3EFEE95F91AA}"/>
            </ac:spMkLst>
          </pc:spChg>
          <pc:picChg chg="mod">
            <ac:chgData name="Pio Parma" userId="9f05d00a-e537-49d7-8068-10844eaca034" providerId="ADAL" clId="{AE5AB2BB-A16E-4143-8E58-03F5B98A59A3}" dt="2025-06-25T00:49:56.514" v="2182"/>
            <ac:picMkLst>
              <pc:docMk/>
              <pc:sldMasterMk cId="1934833029" sldId="2147484093"/>
              <pc:sldLayoutMk cId="870295512" sldId="2147484113"/>
              <ac:picMk id="6" creationId="{00000000-0000-0000-0000-000000000000}"/>
            </ac:picMkLst>
          </pc:picChg>
        </pc:sldLayoutChg>
        <pc:sldLayoutChg chg="modSp">
          <pc:chgData name="Pio Parma" userId="9f05d00a-e537-49d7-8068-10844eaca034" providerId="ADAL" clId="{AE5AB2BB-A16E-4143-8E58-03F5B98A59A3}" dt="2025-06-25T00:49:56.514" v="2182"/>
          <pc:sldLayoutMkLst>
            <pc:docMk/>
            <pc:sldMasterMk cId="1934833029" sldId="2147484093"/>
            <pc:sldLayoutMk cId="1906195891" sldId="2147484114"/>
          </pc:sldLayoutMkLst>
          <pc:spChg chg="mod">
            <ac:chgData name="Pio Parma" userId="9f05d00a-e537-49d7-8068-10844eaca034" providerId="ADAL" clId="{AE5AB2BB-A16E-4143-8E58-03F5B98A59A3}" dt="2025-06-25T00:49:56.514" v="2182"/>
            <ac:spMkLst>
              <pc:docMk/>
              <pc:sldMasterMk cId="1934833029" sldId="2147484093"/>
              <pc:sldLayoutMk cId="1906195891" sldId="2147484114"/>
              <ac:spMk id="2" creationId="{34B0247E-C23A-4A31-B60B-C6B02AC79597}"/>
            </ac:spMkLst>
          </pc:spChg>
          <pc:spChg chg="mod">
            <ac:chgData name="Pio Parma" userId="9f05d00a-e537-49d7-8068-10844eaca034" providerId="ADAL" clId="{AE5AB2BB-A16E-4143-8E58-03F5B98A59A3}" dt="2025-06-25T00:49:56.514" v="2182"/>
            <ac:spMkLst>
              <pc:docMk/>
              <pc:sldMasterMk cId="1934833029" sldId="2147484093"/>
              <pc:sldLayoutMk cId="1906195891" sldId="2147484114"/>
              <ac:spMk id="6" creationId="{F43C7B1A-5D74-4852-8F13-DA3E8B3373DB}"/>
            </ac:spMkLst>
          </pc:spChg>
          <pc:graphicFrameChg chg="mod">
            <ac:chgData name="Pio Parma" userId="9f05d00a-e537-49d7-8068-10844eaca034" providerId="ADAL" clId="{AE5AB2BB-A16E-4143-8E58-03F5B98A59A3}" dt="2025-06-25T00:49:56.514" v="2182"/>
            <ac:graphicFrameMkLst>
              <pc:docMk/>
              <pc:sldMasterMk cId="1934833029" sldId="2147484093"/>
              <pc:sldLayoutMk cId="1906195891" sldId="2147484114"/>
              <ac:graphicFrameMk id="4" creationId="{422E74AF-5128-4E59-AF54-67A68A2235D6}"/>
            </ac:graphicFrameMkLst>
          </pc:graphicFrameChg>
        </pc:sldLayoutChg>
      </pc:sldMasterChg>
      <pc:sldMasterChg chg="modSp delSldLayout modSldLayout">
        <pc:chgData name="Pio Parma" userId="9f05d00a-e537-49d7-8068-10844eaca034" providerId="ADAL" clId="{AE5AB2BB-A16E-4143-8E58-03F5B98A59A3}" dt="2025-06-25T00:49:56.514" v="2182"/>
        <pc:sldMasterMkLst>
          <pc:docMk/>
          <pc:sldMasterMk cId="2031271794" sldId="2147484117"/>
        </pc:sldMasterMkLst>
        <pc:spChg chg="mod">
          <ac:chgData name="Pio Parma" userId="9f05d00a-e537-49d7-8068-10844eaca034" providerId="ADAL" clId="{AE5AB2BB-A16E-4143-8E58-03F5B98A59A3}" dt="2025-06-25T00:49:56.514" v="2182"/>
          <ac:spMkLst>
            <pc:docMk/>
            <pc:sldMasterMk cId="2031271794" sldId="2147484117"/>
            <ac:spMk id="9" creationId="{6990FCCA-7A0D-4536-8AAA-3EFEE95F91AA}"/>
          </ac:spMkLst>
        </pc:spChg>
        <pc:graphicFrameChg chg="mod">
          <ac:chgData name="Pio Parma" userId="9f05d00a-e537-49d7-8068-10844eaca034" providerId="ADAL" clId="{AE5AB2BB-A16E-4143-8E58-03F5B98A59A3}" dt="2025-06-25T00:49:56.514" v="2182"/>
          <ac:graphicFrameMkLst>
            <pc:docMk/>
            <pc:sldMasterMk cId="2031271794" sldId="2147484117"/>
            <ac:graphicFrameMk id="2" creationId="{C5F2D8A8-0099-4A9D-8086-F133407E0391}"/>
          </ac:graphicFrameMkLst>
        </pc:graphicFrameChg>
        <pc:picChg chg="mod">
          <ac:chgData name="Pio Parma" userId="9f05d00a-e537-49d7-8068-10844eaca034" providerId="ADAL" clId="{AE5AB2BB-A16E-4143-8E58-03F5B98A59A3}" dt="2025-06-25T00:49:56.514" v="2182"/>
          <ac:picMkLst>
            <pc:docMk/>
            <pc:sldMasterMk cId="2031271794" sldId="2147484117"/>
            <ac:picMk id="4" creationId="{655B1678-5C89-8532-5245-C4C97A7C2A57}"/>
          </ac:picMkLst>
        </pc:picChg>
        <pc:picChg chg="mod">
          <ac:chgData name="Pio Parma" userId="9f05d00a-e537-49d7-8068-10844eaca034" providerId="ADAL" clId="{AE5AB2BB-A16E-4143-8E58-03F5B98A59A3}" dt="2025-06-25T00:49:56.514" v="2182"/>
          <ac:picMkLst>
            <pc:docMk/>
            <pc:sldMasterMk cId="2031271794" sldId="2147484117"/>
            <ac:picMk id="7" creationId="{00000000-0000-0000-0000-000000000000}"/>
          </ac:picMkLst>
        </pc:picChg>
        <pc:cxnChg chg="mod">
          <ac:chgData name="Pio Parma" userId="9f05d00a-e537-49d7-8068-10844eaca034" providerId="ADAL" clId="{AE5AB2BB-A16E-4143-8E58-03F5B98A59A3}" dt="2025-06-25T00:49:56.514" v="2182"/>
          <ac:cxnSpMkLst>
            <pc:docMk/>
            <pc:sldMasterMk cId="2031271794" sldId="2147484117"/>
            <ac:cxnSpMk id="8" creationId="{B914DDBC-A419-41FA-A158-73DD87EDB6E8}"/>
          </ac:cxnSpMkLst>
        </pc:cxnChg>
        <pc:sldLayoutChg chg="modSp">
          <pc:chgData name="Pio Parma" userId="9f05d00a-e537-49d7-8068-10844eaca034" providerId="ADAL" clId="{AE5AB2BB-A16E-4143-8E58-03F5B98A59A3}" dt="2025-06-25T00:49:56.514" v="2182"/>
          <pc:sldLayoutMkLst>
            <pc:docMk/>
            <pc:sldMasterMk cId="2031271794" sldId="2147484117"/>
            <pc:sldLayoutMk cId="3117557881" sldId="2147484118"/>
          </pc:sldLayoutMkLst>
          <pc:spChg chg="mod">
            <ac:chgData name="Pio Parma" userId="9f05d00a-e537-49d7-8068-10844eaca034" providerId="ADAL" clId="{AE5AB2BB-A16E-4143-8E58-03F5B98A59A3}" dt="2025-06-25T00:49:56.514" v="2182"/>
            <ac:spMkLst>
              <pc:docMk/>
              <pc:sldMasterMk cId="2031271794" sldId="2147484117"/>
              <pc:sldLayoutMk cId="3117557881" sldId="2147484118"/>
              <ac:spMk id="2" creationId="{AD11B1C0-E831-460E-B679-473C507CE8AF}"/>
            </ac:spMkLst>
          </pc:spChg>
          <pc:spChg chg="mod">
            <ac:chgData name="Pio Parma" userId="9f05d00a-e537-49d7-8068-10844eaca034" providerId="ADAL" clId="{AE5AB2BB-A16E-4143-8E58-03F5B98A59A3}" dt="2025-06-25T00:49:56.514" v="2182"/>
            <ac:spMkLst>
              <pc:docMk/>
              <pc:sldMasterMk cId="2031271794" sldId="2147484117"/>
              <pc:sldLayoutMk cId="3117557881" sldId="2147484118"/>
              <ac:spMk id="6" creationId="{EF52FC51-0662-4EDC-B14C-1634434B37E8}"/>
            </ac:spMkLst>
          </pc:spChg>
          <pc:spChg chg="mod">
            <ac:chgData name="Pio Parma" userId="9f05d00a-e537-49d7-8068-10844eaca034" providerId="ADAL" clId="{AE5AB2BB-A16E-4143-8E58-03F5B98A59A3}" dt="2025-06-25T00:49:56.514" v="2182"/>
            <ac:spMkLst>
              <pc:docMk/>
              <pc:sldMasterMk cId="2031271794" sldId="2147484117"/>
              <pc:sldLayoutMk cId="3117557881" sldId="2147484118"/>
              <ac:spMk id="8" creationId="{D6EB0F33-CCF1-46FD-B414-D857213FC7A2}"/>
            </ac:spMkLst>
          </pc:spChg>
          <pc:spChg chg="mod">
            <ac:chgData name="Pio Parma" userId="9f05d00a-e537-49d7-8068-10844eaca034" providerId="ADAL" clId="{AE5AB2BB-A16E-4143-8E58-03F5B98A59A3}" dt="2025-06-25T00:49:56.514" v="2182"/>
            <ac:spMkLst>
              <pc:docMk/>
              <pc:sldMasterMk cId="2031271794" sldId="2147484117"/>
              <pc:sldLayoutMk cId="3117557881" sldId="2147484118"/>
              <ac:spMk id="10" creationId="{E48C28C1-455E-4BEB-AA3B-64852673EE1D}"/>
            </ac:spMkLst>
          </pc:spChg>
          <pc:spChg chg="mod">
            <ac:chgData name="Pio Parma" userId="9f05d00a-e537-49d7-8068-10844eaca034" providerId="ADAL" clId="{AE5AB2BB-A16E-4143-8E58-03F5B98A59A3}" dt="2025-06-25T00:49:56.514" v="2182"/>
            <ac:spMkLst>
              <pc:docMk/>
              <pc:sldMasterMk cId="2031271794" sldId="2147484117"/>
              <pc:sldLayoutMk cId="3117557881" sldId="2147484118"/>
              <ac:spMk id="11" creationId="{2D942B9A-A55E-4682-A543-6D063B114899}"/>
            </ac:spMkLst>
          </pc:spChg>
          <pc:spChg chg="mod">
            <ac:chgData name="Pio Parma" userId="9f05d00a-e537-49d7-8068-10844eaca034" providerId="ADAL" clId="{AE5AB2BB-A16E-4143-8E58-03F5B98A59A3}" dt="2025-06-25T00:49:56.514" v="2182"/>
            <ac:spMkLst>
              <pc:docMk/>
              <pc:sldMasterMk cId="2031271794" sldId="2147484117"/>
              <pc:sldLayoutMk cId="3117557881" sldId="2147484118"/>
              <ac:spMk id="12" creationId="{23C36DDE-09C7-41CB-9CBE-B45153495ED5}"/>
            </ac:spMkLst>
          </pc:spChg>
          <pc:spChg chg="mod">
            <ac:chgData name="Pio Parma" userId="9f05d00a-e537-49d7-8068-10844eaca034" providerId="ADAL" clId="{AE5AB2BB-A16E-4143-8E58-03F5B98A59A3}" dt="2025-06-25T00:49:56.514" v="2182"/>
            <ac:spMkLst>
              <pc:docMk/>
              <pc:sldMasterMk cId="2031271794" sldId="2147484117"/>
              <pc:sldLayoutMk cId="3117557881" sldId="2147484118"/>
              <ac:spMk id="16" creationId="{4ED0E4C7-47E5-4FB6-807B-90C3A58DB331}"/>
            </ac:spMkLst>
          </pc:spChg>
          <pc:picChg chg="mod">
            <ac:chgData name="Pio Parma" userId="9f05d00a-e537-49d7-8068-10844eaca034" providerId="ADAL" clId="{AE5AB2BB-A16E-4143-8E58-03F5B98A59A3}" dt="2025-06-25T00:49:56.514" v="2182"/>
            <ac:picMkLst>
              <pc:docMk/>
              <pc:sldMasterMk cId="2031271794" sldId="2147484117"/>
              <pc:sldLayoutMk cId="3117557881" sldId="2147484118"/>
              <ac:picMk id="3" creationId="{533B0AC8-C4E0-6EC8-9995-132E0F6F610D}"/>
            </ac:picMkLst>
          </pc:picChg>
          <pc:picChg chg="mod">
            <ac:chgData name="Pio Parma" userId="9f05d00a-e537-49d7-8068-10844eaca034" providerId="ADAL" clId="{AE5AB2BB-A16E-4143-8E58-03F5B98A59A3}" dt="2025-06-25T00:49:56.514" v="2182"/>
            <ac:picMkLst>
              <pc:docMk/>
              <pc:sldMasterMk cId="2031271794" sldId="2147484117"/>
              <pc:sldLayoutMk cId="3117557881" sldId="2147484118"/>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2031271794" sldId="2147484117"/>
            <pc:sldLayoutMk cId="4048309728" sldId="2147484119"/>
          </pc:sldLayoutMkLst>
          <pc:spChg chg="mod">
            <ac:chgData name="Pio Parma" userId="9f05d00a-e537-49d7-8068-10844eaca034" providerId="ADAL" clId="{AE5AB2BB-A16E-4143-8E58-03F5B98A59A3}" dt="2025-06-25T00:49:56.514" v="2182"/>
            <ac:spMkLst>
              <pc:docMk/>
              <pc:sldMasterMk cId="2031271794" sldId="2147484117"/>
              <pc:sldLayoutMk cId="4048309728" sldId="2147484119"/>
              <ac:spMk id="2" creationId="{34B0247E-C23A-4A31-B60B-C6B02AC79597}"/>
            </ac:spMkLst>
          </pc:spChg>
          <pc:spChg chg="mod">
            <ac:chgData name="Pio Parma" userId="9f05d00a-e537-49d7-8068-10844eaca034" providerId="ADAL" clId="{AE5AB2BB-A16E-4143-8E58-03F5B98A59A3}" dt="2025-06-25T00:49:56.514" v="2182"/>
            <ac:spMkLst>
              <pc:docMk/>
              <pc:sldMasterMk cId="2031271794" sldId="2147484117"/>
              <pc:sldLayoutMk cId="4048309728" sldId="2147484119"/>
              <ac:spMk id="3" creationId="{115F9EB4-1361-FEBD-080C-421BFD79A741}"/>
            </ac:spMkLst>
          </pc:spChg>
          <pc:spChg chg="mod">
            <ac:chgData name="Pio Parma" userId="9f05d00a-e537-49d7-8068-10844eaca034" providerId="ADAL" clId="{AE5AB2BB-A16E-4143-8E58-03F5B98A59A3}" dt="2025-06-25T00:49:56.514" v="2182"/>
            <ac:spMkLst>
              <pc:docMk/>
              <pc:sldMasterMk cId="2031271794" sldId="2147484117"/>
              <pc:sldLayoutMk cId="4048309728" sldId="2147484119"/>
              <ac:spMk id="6" creationId="{2997CE74-FC52-42EC-BC36-AA81E2E2126A}"/>
            </ac:spMkLst>
          </pc:spChg>
          <pc:graphicFrameChg chg="mod">
            <ac:chgData name="Pio Parma" userId="9f05d00a-e537-49d7-8068-10844eaca034" providerId="ADAL" clId="{AE5AB2BB-A16E-4143-8E58-03F5B98A59A3}" dt="2025-06-25T00:49:56.514" v="2182"/>
            <ac:graphicFrameMkLst>
              <pc:docMk/>
              <pc:sldMasterMk cId="2031271794" sldId="2147484117"/>
              <pc:sldLayoutMk cId="4048309728" sldId="2147484119"/>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2031271794" sldId="2147484117"/>
            <pc:sldLayoutMk cId="584693911" sldId="2147484120"/>
          </pc:sldLayoutMkLst>
          <pc:spChg chg="mod">
            <ac:chgData name="Pio Parma" userId="9f05d00a-e537-49d7-8068-10844eaca034" providerId="ADAL" clId="{AE5AB2BB-A16E-4143-8E58-03F5B98A59A3}" dt="2025-06-25T00:49:56.514" v="2182"/>
            <ac:spMkLst>
              <pc:docMk/>
              <pc:sldMasterMk cId="2031271794" sldId="2147484117"/>
              <pc:sldLayoutMk cId="584693911" sldId="2147484120"/>
              <ac:spMk id="2" creationId="{34B0247E-C23A-4A31-B60B-C6B02AC79597}"/>
            </ac:spMkLst>
          </pc:spChg>
          <pc:spChg chg="mod">
            <ac:chgData name="Pio Parma" userId="9f05d00a-e537-49d7-8068-10844eaca034" providerId="ADAL" clId="{AE5AB2BB-A16E-4143-8E58-03F5B98A59A3}" dt="2025-06-25T00:49:56.514" v="2182"/>
            <ac:spMkLst>
              <pc:docMk/>
              <pc:sldMasterMk cId="2031271794" sldId="2147484117"/>
              <pc:sldLayoutMk cId="584693911" sldId="2147484120"/>
              <ac:spMk id="3" creationId="{115F9EB4-1361-FEBD-080C-421BFD79A741}"/>
            </ac:spMkLst>
          </pc:spChg>
          <pc:spChg chg="mod">
            <ac:chgData name="Pio Parma" userId="9f05d00a-e537-49d7-8068-10844eaca034" providerId="ADAL" clId="{AE5AB2BB-A16E-4143-8E58-03F5B98A59A3}" dt="2025-06-25T00:49:56.514" v="2182"/>
            <ac:spMkLst>
              <pc:docMk/>
              <pc:sldMasterMk cId="2031271794" sldId="2147484117"/>
              <pc:sldLayoutMk cId="584693911" sldId="2147484120"/>
              <ac:spMk id="5" creationId="{2A8AA205-C10B-BA53-41DA-61B8071E9A46}"/>
            </ac:spMkLst>
          </pc:spChg>
          <pc:spChg chg="mod">
            <ac:chgData name="Pio Parma" userId="9f05d00a-e537-49d7-8068-10844eaca034" providerId="ADAL" clId="{AE5AB2BB-A16E-4143-8E58-03F5B98A59A3}" dt="2025-06-25T00:49:56.514" v="2182"/>
            <ac:spMkLst>
              <pc:docMk/>
              <pc:sldMasterMk cId="2031271794" sldId="2147484117"/>
              <pc:sldLayoutMk cId="584693911" sldId="2147484120"/>
              <ac:spMk id="6" creationId="{2997CE74-FC52-42EC-BC36-AA81E2E2126A}"/>
            </ac:spMkLst>
          </pc:spChg>
          <pc:graphicFrameChg chg="mod">
            <ac:chgData name="Pio Parma" userId="9f05d00a-e537-49d7-8068-10844eaca034" providerId="ADAL" clId="{AE5AB2BB-A16E-4143-8E58-03F5B98A59A3}" dt="2025-06-25T00:49:56.514" v="2182"/>
            <ac:graphicFrameMkLst>
              <pc:docMk/>
              <pc:sldMasterMk cId="2031271794" sldId="2147484117"/>
              <pc:sldLayoutMk cId="584693911" sldId="2147484120"/>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2031271794" sldId="2147484117"/>
            <pc:sldLayoutMk cId="2271711848" sldId="2147484121"/>
          </pc:sldLayoutMkLst>
          <pc:spChg chg="mod">
            <ac:chgData name="Pio Parma" userId="9f05d00a-e537-49d7-8068-10844eaca034" providerId="ADAL" clId="{AE5AB2BB-A16E-4143-8E58-03F5B98A59A3}" dt="2025-06-25T00:49:56.514" v="2182"/>
            <ac:spMkLst>
              <pc:docMk/>
              <pc:sldMasterMk cId="2031271794" sldId="2147484117"/>
              <pc:sldLayoutMk cId="2271711848" sldId="2147484121"/>
              <ac:spMk id="4" creationId="{A513269F-8769-4D15-BDFB-860623E861C9}"/>
            </ac:spMkLst>
          </pc:spChg>
          <pc:cxnChg chg="mod">
            <ac:chgData name="Pio Parma" userId="9f05d00a-e537-49d7-8068-10844eaca034" providerId="ADAL" clId="{AE5AB2BB-A16E-4143-8E58-03F5B98A59A3}" dt="2025-06-25T00:49:56.514" v="2182"/>
            <ac:cxnSpMkLst>
              <pc:docMk/>
              <pc:sldMasterMk cId="2031271794" sldId="2147484117"/>
              <pc:sldLayoutMk cId="2271711848" sldId="2147484121"/>
              <ac:cxnSpMk id="3" creationId="{480F71A9-D972-4409-A7C4-6DA65A4DD8BA}"/>
            </ac:cxnSpMkLst>
          </pc:cxnChg>
        </pc:sldLayoutChg>
        <pc:sldLayoutChg chg="modSp">
          <pc:chgData name="Pio Parma" userId="9f05d00a-e537-49d7-8068-10844eaca034" providerId="ADAL" clId="{AE5AB2BB-A16E-4143-8E58-03F5B98A59A3}" dt="2025-06-25T00:49:56.514" v="2182"/>
          <pc:sldLayoutMkLst>
            <pc:docMk/>
            <pc:sldMasterMk cId="2031271794" sldId="2147484117"/>
            <pc:sldLayoutMk cId="3668650965" sldId="2147484122"/>
          </pc:sldLayoutMkLst>
          <pc:spChg chg="mod">
            <ac:chgData name="Pio Parma" userId="9f05d00a-e537-49d7-8068-10844eaca034" providerId="ADAL" clId="{AE5AB2BB-A16E-4143-8E58-03F5B98A59A3}" dt="2025-06-25T00:49:56.514" v="2182"/>
            <ac:spMkLst>
              <pc:docMk/>
              <pc:sldMasterMk cId="2031271794" sldId="2147484117"/>
              <pc:sldLayoutMk cId="3668650965" sldId="2147484122"/>
              <ac:spMk id="2" creationId="{AD11B1C0-E831-460E-B679-473C507CE8AF}"/>
            </ac:spMkLst>
          </pc:spChg>
          <pc:spChg chg="mod">
            <ac:chgData name="Pio Parma" userId="9f05d00a-e537-49d7-8068-10844eaca034" providerId="ADAL" clId="{AE5AB2BB-A16E-4143-8E58-03F5B98A59A3}" dt="2025-06-25T00:49:56.514" v="2182"/>
            <ac:spMkLst>
              <pc:docMk/>
              <pc:sldMasterMk cId="2031271794" sldId="2147484117"/>
              <pc:sldLayoutMk cId="3668650965" sldId="2147484122"/>
              <ac:spMk id="4" creationId="{FCFEFCD6-B647-4E83-F323-CA45A380B17D}"/>
            </ac:spMkLst>
          </pc:spChg>
          <pc:spChg chg="mod">
            <ac:chgData name="Pio Parma" userId="9f05d00a-e537-49d7-8068-10844eaca034" providerId="ADAL" clId="{AE5AB2BB-A16E-4143-8E58-03F5B98A59A3}" dt="2025-06-25T00:49:56.514" v="2182"/>
            <ac:spMkLst>
              <pc:docMk/>
              <pc:sldMasterMk cId="2031271794" sldId="2147484117"/>
              <pc:sldLayoutMk cId="3668650965" sldId="2147484122"/>
              <ac:spMk id="16" creationId="{4ED0E4C7-47E5-4FB6-807B-90C3A58DB331}"/>
            </ac:spMkLst>
          </pc:spChg>
          <pc:picChg chg="mod">
            <ac:chgData name="Pio Parma" userId="9f05d00a-e537-49d7-8068-10844eaca034" providerId="ADAL" clId="{AE5AB2BB-A16E-4143-8E58-03F5B98A59A3}" dt="2025-06-25T00:49:56.514" v="2182"/>
            <ac:picMkLst>
              <pc:docMk/>
              <pc:sldMasterMk cId="2031271794" sldId="2147484117"/>
              <pc:sldLayoutMk cId="3668650965" sldId="2147484122"/>
              <ac:picMk id="3" creationId="{680D4DD2-0D52-433E-E9B2-408D5D4D7A80}"/>
            </ac:picMkLst>
          </pc:picChg>
          <pc:picChg chg="mod">
            <ac:chgData name="Pio Parma" userId="9f05d00a-e537-49d7-8068-10844eaca034" providerId="ADAL" clId="{AE5AB2BB-A16E-4143-8E58-03F5B98A59A3}" dt="2025-06-25T00:49:56.514" v="2182"/>
            <ac:picMkLst>
              <pc:docMk/>
              <pc:sldMasterMk cId="2031271794" sldId="2147484117"/>
              <pc:sldLayoutMk cId="3668650965" sldId="2147484122"/>
              <ac:picMk id="5" creationId="{0981F08F-C23F-18A0-B129-A9899247D3DD}"/>
            </ac:picMkLst>
          </pc:picChg>
          <pc:picChg chg="mod">
            <ac:chgData name="Pio Parma" userId="9f05d00a-e537-49d7-8068-10844eaca034" providerId="ADAL" clId="{AE5AB2BB-A16E-4143-8E58-03F5B98A59A3}" dt="2025-06-25T00:49:56.514" v="2182"/>
            <ac:picMkLst>
              <pc:docMk/>
              <pc:sldMasterMk cId="2031271794" sldId="2147484117"/>
              <pc:sldLayoutMk cId="3668650965" sldId="2147484122"/>
              <ac:picMk id="15" creationId="{212FBF0D-C989-41AA-A45F-208D7798742B}"/>
            </ac:picMkLst>
          </pc:picChg>
        </pc:sldLayoutChg>
        <pc:sldLayoutChg chg="modSp">
          <pc:chgData name="Pio Parma" userId="9f05d00a-e537-49d7-8068-10844eaca034" providerId="ADAL" clId="{AE5AB2BB-A16E-4143-8E58-03F5B98A59A3}" dt="2025-06-25T00:49:56.514" v="2182"/>
          <pc:sldLayoutMkLst>
            <pc:docMk/>
            <pc:sldMasterMk cId="2031271794" sldId="2147484117"/>
            <pc:sldLayoutMk cId="181753001" sldId="2147484123"/>
          </pc:sldLayoutMkLst>
          <pc:spChg chg="mod">
            <ac:chgData name="Pio Parma" userId="9f05d00a-e537-49d7-8068-10844eaca034" providerId="ADAL" clId="{AE5AB2BB-A16E-4143-8E58-03F5B98A59A3}" dt="2025-06-25T00:49:56.514" v="2182"/>
            <ac:spMkLst>
              <pc:docMk/>
              <pc:sldMasterMk cId="2031271794" sldId="2147484117"/>
              <pc:sldLayoutMk cId="181753001" sldId="2147484123"/>
              <ac:spMk id="2" creationId="{34B0247E-C23A-4A31-B60B-C6B02AC79597}"/>
            </ac:spMkLst>
          </pc:spChg>
          <pc:spChg chg="mod">
            <ac:chgData name="Pio Parma" userId="9f05d00a-e537-49d7-8068-10844eaca034" providerId="ADAL" clId="{AE5AB2BB-A16E-4143-8E58-03F5B98A59A3}" dt="2025-06-25T00:49:56.514" v="2182"/>
            <ac:spMkLst>
              <pc:docMk/>
              <pc:sldMasterMk cId="2031271794" sldId="2147484117"/>
              <pc:sldLayoutMk cId="181753001" sldId="2147484123"/>
              <ac:spMk id="3" creationId="{115F9EB4-1361-FEBD-080C-421BFD79A741}"/>
            </ac:spMkLst>
          </pc:spChg>
          <pc:spChg chg="mod">
            <ac:chgData name="Pio Parma" userId="9f05d00a-e537-49d7-8068-10844eaca034" providerId="ADAL" clId="{AE5AB2BB-A16E-4143-8E58-03F5B98A59A3}" dt="2025-06-25T00:49:56.514" v="2182"/>
            <ac:spMkLst>
              <pc:docMk/>
              <pc:sldMasterMk cId="2031271794" sldId="2147484117"/>
              <pc:sldLayoutMk cId="181753001" sldId="2147484123"/>
              <ac:spMk id="6" creationId="{2997CE74-FC52-42EC-BC36-AA81E2E2126A}"/>
            </ac:spMkLst>
          </pc:spChg>
          <pc:graphicFrameChg chg="mod">
            <ac:chgData name="Pio Parma" userId="9f05d00a-e537-49d7-8068-10844eaca034" providerId="ADAL" clId="{AE5AB2BB-A16E-4143-8E58-03F5B98A59A3}" dt="2025-06-25T00:49:56.514" v="2182"/>
            <ac:graphicFrameMkLst>
              <pc:docMk/>
              <pc:sldMasterMk cId="2031271794" sldId="2147484117"/>
              <pc:sldLayoutMk cId="181753001" sldId="2147484123"/>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2031271794" sldId="2147484117"/>
            <pc:sldLayoutMk cId="3498483400" sldId="2147484124"/>
          </pc:sldLayoutMkLst>
          <pc:spChg chg="mod">
            <ac:chgData name="Pio Parma" userId="9f05d00a-e537-49d7-8068-10844eaca034" providerId="ADAL" clId="{AE5AB2BB-A16E-4143-8E58-03F5B98A59A3}" dt="2025-06-25T00:49:56.514" v="2182"/>
            <ac:spMkLst>
              <pc:docMk/>
              <pc:sldMasterMk cId="2031271794" sldId="2147484117"/>
              <pc:sldLayoutMk cId="3498483400" sldId="2147484124"/>
              <ac:spMk id="2" creationId="{34B0247E-C23A-4A31-B60B-C6B02AC79597}"/>
            </ac:spMkLst>
          </pc:spChg>
          <pc:spChg chg="mod">
            <ac:chgData name="Pio Parma" userId="9f05d00a-e537-49d7-8068-10844eaca034" providerId="ADAL" clId="{AE5AB2BB-A16E-4143-8E58-03F5B98A59A3}" dt="2025-06-25T00:49:56.514" v="2182"/>
            <ac:spMkLst>
              <pc:docMk/>
              <pc:sldMasterMk cId="2031271794" sldId="2147484117"/>
              <pc:sldLayoutMk cId="3498483400" sldId="2147484124"/>
              <ac:spMk id="5" creationId="{004B5E75-9EA3-4549-AEDA-BA091BFEA31B}"/>
            </ac:spMkLst>
          </pc:spChg>
          <pc:spChg chg="mod">
            <ac:chgData name="Pio Parma" userId="9f05d00a-e537-49d7-8068-10844eaca034" providerId="ADAL" clId="{AE5AB2BB-A16E-4143-8E58-03F5B98A59A3}" dt="2025-06-25T00:49:56.514" v="2182"/>
            <ac:spMkLst>
              <pc:docMk/>
              <pc:sldMasterMk cId="2031271794" sldId="2147484117"/>
              <pc:sldLayoutMk cId="3498483400" sldId="2147484124"/>
              <ac:spMk id="6" creationId="{2997CE74-FC52-42EC-BC36-AA81E2E2126A}"/>
            </ac:spMkLst>
          </pc:spChg>
          <pc:graphicFrameChg chg="mod">
            <ac:chgData name="Pio Parma" userId="9f05d00a-e537-49d7-8068-10844eaca034" providerId="ADAL" clId="{AE5AB2BB-A16E-4143-8E58-03F5B98A59A3}" dt="2025-06-25T00:49:56.514" v="2182"/>
            <ac:graphicFrameMkLst>
              <pc:docMk/>
              <pc:sldMasterMk cId="2031271794" sldId="2147484117"/>
              <pc:sldLayoutMk cId="3498483400" sldId="2147484124"/>
              <ac:graphicFrameMk id="4" creationId="{422E74AF-5128-4E59-AF54-67A68A2235D6}"/>
            </ac:graphicFrameMkLst>
          </pc:graphicFrameChg>
        </pc:sldLayoutChg>
        <pc:sldLayoutChg chg="modSp">
          <pc:chgData name="Pio Parma" userId="9f05d00a-e537-49d7-8068-10844eaca034" providerId="ADAL" clId="{AE5AB2BB-A16E-4143-8E58-03F5B98A59A3}" dt="2025-06-25T00:49:56.514" v="2182"/>
          <pc:sldLayoutMkLst>
            <pc:docMk/>
            <pc:sldMasterMk cId="2031271794" sldId="2147484117"/>
            <pc:sldLayoutMk cId="1496627619" sldId="2147484125"/>
          </pc:sldLayoutMkLst>
          <pc:spChg chg="mod">
            <ac:chgData name="Pio Parma" userId="9f05d00a-e537-49d7-8068-10844eaca034" providerId="ADAL" clId="{AE5AB2BB-A16E-4143-8E58-03F5B98A59A3}" dt="2025-06-25T00:49:56.514" v="2182"/>
            <ac:spMkLst>
              <pc:docMk/>
              <pc:sldMasterMk cId="2031271794" sldId="2147484117"/>
              <pc:sldLayoutMk cId="1496627619" sldId="2147484125"/>
              <ac:spMk id="2" creationId="{34B0247E-C23A-4A31-B60B-C6B02AC79597}"/>
            </ac:spMkLst>
          </pc:spChg>
        </pc:sldLayoutChg>
        <pc:sldLayoutChg chg="modSp">
          <pc:chgData name="Pio Parma" userId="9f05d00a-e537-49d7-8068-10844eaca034" providerId="ADAL" clId="{AE5AB2BB-A16E-4143-8E58-03F5B98A59A3}" dt="2025-06-25T00:49:56.514" v="2182"/>
          <pc:sldLayoutMkLst>
            <pc:docMk/>
            <pc:sldMasterMk cId="2031271794" sldId="2147484117"/>
            <pc:sldLayoutMk cId="4163808370" sldId="2147484126"/>
          </pc:sldLayoutMkLst>
          <pc:spChg chg="mod">
            <ac:chgData name="Pio Parma" userId="9f05d00a-e537-49d7-8068-10844eaca034" providerId="ADAL" clId="{AE5AB2BB-A16E-4143-8E58-03F5B98A59A3}" dt="2025-06-25T00:49:56.514" v="2182"/>
            <ac:spMkLst>
              <pc:docMk/>
              <pc:sldMasterMk cId="2031271794" sldId="2147484117"/>
              <pc:sldLayoutMk cId="4163808370" sldId="2147484126"/>
              <ac:spMk id="2" creationId="{34B0247E-C23A-4A31-B60B-C6B02AC79597}"/>
            </ac:spMkLst>
          </pc:spChg>
          <pc:spChg chg="mod">
            <ac:chgData name="Pio Parma" userId="9f05d00a-e537-49d7-8068-10844eaca034" providerId="ADAL" clId="{AE5AB2BB-A16E-4143-8E58-03F5B98A59A3}" dt="2025-06-25T00:49:56.514" v="2182"/>
            <ac:spMkLst>
              <pc:docMk/>
              <pc:sldMasterMk cId="2031271794" sldId="2147484117"/>
              <pc:sldLayoutMk cId="4163808370" sldId="2147484126"/>
              <ac:spMk id="5" creationId="{B325C0D9-8EE5-4942-818C-789CA58F9729}"/>
            </ac:spMkLst>
          </pc:spChg>
          <pc:spChg chg="mod">
            <ac:chgData name="Pio Parma" userId="9f05d00a-e537-49d7-8068-10844eaca034" providerId="ADAL" clId="{AE5AB2BB-A16E-4143-8E58-03F5B98A59A3}" dt="2025-06-25T00:49:56.514" v="2182"/>
            <ac:spMkLst>
              <pc:docMk/>
              <pc:sldMasterMk cId="2031271794" sldId="2147484117"/>
              <pc:sldLayoutMk cId="4163808370" sldId="2147484126"/>
              <ac:spMk id="6" creationId="{F43C7B1A-5D74-4852-8F13-DA3E8B3373DB}"/>
            </ac:spMkLst>
          </pc:spChg>
          <pc:graphicFrameChg chg="mod">
            <ac:chgData name="Pio Parma" userId="9f05d00a-e537-49d7-8068-10844eaca034" providerId="ADAL" clId="{AE5AB2BB-A16E-4143-8E58-03F5B98A59A3}" dt="2025-06-25T00:49:56.514" v="2182"/>
            <ac:graphicFrameMkLst>
              <pc:docMk/>
              <pc:sldMasterMk cId="2031271794" sldId="2147484117"/>
              <pc:sldLayoutMk cId="4163808370" sldId="2147484126"/>
              <ac:graphicFrameMk id="4" creationId="{422E74AF-5128-4E59-AF54-67A68A2235D6}"/>
            </ac:graphicFrameMkLst>
          </pc:graphicFrameChg>
        </pc:sldLayoutChg>
        <pc:sldLayoutChg chg="del">
          <pc:chgData name="Pio Parma" userId="9f05d00a-e537-49d7-8068-10844eaca034" providerId="ADAL" clId="{AE5AB2BB-A16E-4143-8E58-03F5B98A59A3}" dt="2025-06-25T00:01:42.086" v="598" actId="47"/>
          <pc:sldLayoutMkLst>
            <pc:docMk/>
            <pc:sldMasterMk cId="2031271794" sldId="2147484117"/>
            <pc:sldLayoutMk cId="1444087167" sldId="2147484127"/>
          </pc:sldLayoutMkLst>
        </pc:sldLayoutChg>
        <pc:sldLayoutChg chg="del">
          <pc:chgData name="Pio Parma" userId="9f05d00a-e537-49d7-8068-10844eaca034" providerId="ADAL" clId="{AE5AB2BB-A16E-4143-8E58-03F5B98A59A3}" dt="2025-06-25T00:01:28.780" v="597" actId="47"/>
          <pc:sldLayoutMkLst>
            <pc:docMk/>
            <pc:sldMasterMk cId="2031271794" sldId="2147484117"/>
            <pc:sldLayoutMk cId="934808546" sldId="2147484129"/>
          </pc:sldLayoutMkLst>
        </pc:sldLayoutChg>
        <pc:sldLayoutChg chg="modSp">
          <pc:chgData name="Pio Parma" userId="9f05d00a-e537-49d7-8068-10844eaca034" providerId="ADAL" clId="{AE5AB2BB-A16E-4143-8E58-03F5B98A59A3}" dt="2025-06-25T00:49:56.514" v="2182"/>
          <pc:sldLayoutMkLst>
            <pc:docMk/>
            <pc:sldMasterMk cId="2031271794" sldId="2147484117"/>
            <pc:sldLayoutMk cId="2175801880" sldId="2147484130"/>
          </pc:sldLayoutMkLst>
          <pc:spChg chg="mod">
            <ac:chgData name="Pio Parma" userId="9f05d00a-e537-49d7-8068-10844eaca034" providerId="ADAL" clId="{AE5AB2BB-A16E-4143-8E58-03F5B98A59A3}" dt="2025-06-25T00:49:56.514" v="2182"/>
            <ac:spMkLst>
              <pc:docMk/>
              <pc:sldMasterMk cId="2031271794" sldId="2147484117"/>
              <pc:sldLayoutMk cId="2175801880" sldId="2147484130"/>
              <ac:spMk id="6" creationId="{AE3AEA8B-7EF7-48E0-8F79-68E36FE072CE}"/>
            </ac:spMkLst>
          </pc:spChg>
          <pc:spChg chg="mod">
            <ac:chgData name="Pio Parma" userId="9f05d00a-e537-49d7-8068-10844eaca034" providerId="ADAL" clId="{AE5AB2BB-A16E-4143-8E58-03F5B98A59A3}" dt="2025-06-25T00:49:56.514" v="2182"/>
            <ac:spMkLst>
              <pc:docMk/>
              <pc:sldMasterMk cId="2031271794" sldId="2147484117"/>
              <pc:sldLayoutMk cId="2175801880" sldId="2147484130"/>
              <ac:spMk id="7" creationId="{FE5B7131-B83A-4CD1-A50A-7F5AF6DF9DD2}"/>
            </ac:spMkLst>
          </pc:spChg>
        </pc:sldLayoutChg>
        <pc:sldLayoutChg chg="del">
          <pc:chgData name="Pio Parma" userId="9f05d00a-e537-49d7-8068-10844eaca034" providerId="ADAL" clId="{AE5AB2BB-A16E-4143-8E58-03F5B98A59A3}" dt="2025-06-25T00:01:42.086" v="598" actId="47"/>
          <pc:sldLayoutMkLst>
            <pc:docMk/>
            <pc:sldMasterMk cId="2031271794" sldId="2147484117"/>
            <pc:sldLayoutMk cId="2832050326" sldId="214748413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ambrosettispa.sharepoint.com/sites/Toscana2050/Documenti%20condivisi/Toscana%202050/Rapporto%20finale/Figure%20Capitolo%20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089158559122514"/>
          <c:y val="3.9127614554788588E-2"/>
          <c:w val="0.35622797650419402"/>
          <c:h val="0.94444444444444442"/>
        </c:manualLayout>
      </c:layout>
      <c:barChart>
        <c:barDir val="bar"/>
        <c:grouping val="clustered"/>
        <c:varyColors val="0"/>
        <c:ser>
          <c:idx val="0"/>
          <c:order val="0"/>
          <c:spPr>
            <a:solidFill>
              <a:srgbClr val="002060"/>
            </a:solidFill>
            <a:ln w="19050">
              <a:noFill/>
            </a:ln>
            <a:effectLst/>
          </c:spPr>
          <c:invertIfNegative val="0"/>
          <c:dPt>
            <c:idx val="0"/>
            <c:invertIfNegative val="0"/>
            <c:bubble3D val="0"/>
            <c:spPr>
              <a:solidFill>
                <a:srgbClr val="F47B20"/>
              </a:solidFill>
              <a:ln w="19050">
                <a:noFill/>
              </a:ln>
              <a:effectLst/>
            </c:spPr>
            <c:extLst>
              <c:ext xmlns:c16="http://schemas.microsoft.com/office/drawing/2014/chart" uri="{C3380CC4-5D6E-409C-BE32-E72D297353CC}">
                <c16:uniqueId val="{00000001-747A-4CEB-B5C1-95A0E0376C14}"/>
              </c:ext>
            </c:extLst>
          </c:dPt>
          <c:dLbls>
            <c:dLbl>
              <c:idx val="0"/>
              <c:numFmt formatCode="0.0%" sourceLinked="0"/>
              <c:spPr>
                <a:noFill/>
                <a:ln>
                  <a:noFill/>
                </a:ln>
                <a:effectLst/>
              </c:spPr>
              <c:txPr>
                <a:bodyPr rot="0" spcFirstLastPara="1" vertOverflow="ellipsis" vert="horz" wrap="square" anchor="ctr" anchorCtr="1"/>
                <a:lstStyle/>
                <a:p>
                  <a:pPr>
                    <a:defRPr sz="1600" b="1" i="0" u="none" strike="noStrike" kern="1200" baseline="0">
                      <a:solidFill>
                        <a:srgbClr val="F47B20"/>
                      </a:solidFill>
                      <a:latin typeface="Source Sans Pro" panose="020B0503030403020204" pitchFamily="34" charset="0"/>
                      <a:ea typeface="+mn-ea"/>
                      <a:cs typeface="+mn-cs"/>
                    </a:defRPr>
                  </a:pPr>
                  <a:endParaRPr lang="it-IT"/>
                </a:p>
              </c:txPr>
              <c:showLegendKey val="0"/>
              <c:showVal val="1"/>
              <c:showCatName val="0"/>
              <c:showSerName val="0"/>
              <c:showPercent val="0"/>
              <c:showBubbleSize val="0"/>
              <c:extLst>
                <c:ext xmlns:c16="http://schemas.microsoft.com/office/drawing/2014/chart" uri="{C3380CC4-5D6E-409C-BE32-E72D297353CC}">
                  <c16:uniqueId val="{00000001-747A-4CEB-B5C1-95A0E0376C14}"/>
                </c:ext>
              </c:extLst>
            </c:dLbl>
            <c:numFmt formatCode="0.0%" sourceLinked="0"/>
            <c:spPr>
              <a:noFill/>
              <a:ln>
                <a:noFill/>
              </a:ln>
              <a:effectLst/>
            </c:spPr>
            <c:txPr>
              <a:bodyPr rot="0" spcFirstLastPara="1" vertOverflow="ellipsis" vert="horz" wrap="square" anchor="ctr" anchorCtr="1"/>
              <a:lstStyle/>
              <a:p>
                <a:pPr>
                  <a:defRPr sz="1600" b="0" i="0" u="none" strike="noStrike" kern="1200" baseline="0">
                    <a:solidFill>
                      <a:srgbClr val="002060"/>
                    </a:solidFill>
                    <a:latin typeface="Source Sans Pro" panose="020B0503030403020204" pitchFamily="34" charset="0"/>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spetti generali'!$B$5:$B$10</c:f>
              <c:strCache>
                <c:ptCount val="6"/>
                <c:pt idx="0">
                  <c:v> Tipologie e modalità di lavoro</c:v>
                </c:pt>
                <c:pt idx="1">
                  <c:v> Salute e qualità della vita</c:v>
                </c:pt>
                <c:pt idx="2">
                  <c:v> Impiego delle risorse naturali</c:v>
                </c:pt>
                <c:pt idx="3">
                  <c:v> Organizzazione delle città</c:v>
                </c:pt>
                <c:pt idx="4">
                  <c:v> Educazione e formazione</c:v>
                </c:pt>
                <c:pt idx="5">
                  <c:v> Cultura</c:v>
                </c:pt>
              </c:strCache>
            </c:strRef>
          </c:cat>
          <c:val>
            <c:numRef>
              <c:f>'Aspetti generali'!$C$5:$C$10</c:f>
              <c:numCache>
                <c:formatCode>0.0%</c:formatCode>
                <c:ptCount val="6"/>
                <c:pt idx="0">
                  <c:v>0.28299999999999997</c:v>
                </c:pt>
                <c:pt idx="1">
                  <c:v>0.25</c:v>
                </c:pt>
                <c:pt idx="2">
                  <c:v>0.193</c:v>
                </c:pt>
                <c:pt idx="3">
                  <c:v>0.188</c:v>
                </c:pt>
                <c:pt idx="4">
                  <c:v>6.5000000000000002E-2</c:v>
                </c:pt>
                <c:pt idx="5">
                  <c:v>2.1000000000000001E-2</c:v>
                </c:pt>
              </c:numCache>
            </c:numRef>
          </c:val>
          <c:extLst>
            <c:ext xmlns:c16="http://schemas.microsoft.com/office/drawing/2014/chart" uri="{C3380CC4-5D6E-409C-BE32-E72D297353CC}">
              <c16:uniqueId val="{00000000-747A-4CEB-B5C1-95A0E0376C14}"/>
            </c:ext>
          </c:extLst>
        </c:ser>
        <c:dLbls>
          <c:showLegendKey val="0"/>
          <c:showVal val="0"/>
          <c:showCatName val="0"/>
          <c:showSerName val="0"/>
          <c:showPercent val="0"/>
          <c:showBubbleSize val="0"/>
        </c:dLbls>
        <c:gapWidth val="100"/>
        <c:axId val="1988462000"/>
        <c:axId val="1988462480"/>
      </c:barChart>
      <c:valAx>
        <c:axId val="1988462480"/>
        <c:scaling>
          <c:orientation val="minMax"/>
        </c:scaling>
        <c:delete val="1"/>
        <c:axPos val="t"/>
        <c:numFmt formatCode="0.0%" sourceLinked="1"/>
        <c:majorTickMark val="out"/>
        <c:minorTickMark val="none"/>
        <c:tickLblPos val="nextTo"/>
        <c:crossAx val="1988462000"/>
        <c:crosses val="autoZero"/>
        <c:crossBetween val="between"/>
      </c:valAx>
      <c:catAx>
        <c:axId val="1988462000"/>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002060"/>
                </a:solidFill>
                <a:latin typeface="Source Sans Pro" panose="020B0503030403020204" pitchFamily="34" charset="0"/>
                <a:ea typeface="+mn-ea"/>
                <a:cs typeface="+mn-cs"/>
              </a:defRPr>
            </a:pPr>
            <a:endParaRPr lang="it-IT"/>
          </a:p>
        </c:txPr>
        <c:crossAx val="198846248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600">
          <a:solidFill>
            <a:srgbClr val="002060"/>
          </a:solidFill>
          <a:latin typeface="Source Sans Pro" panose="020B0503030403020204" pitchFamily="34" charset="0"/>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Foglio1!$B$1</c:f>
              <c:strCache>
                <c:ptCount val="1"/>
                <c:pt idx="0">
                  <c:v>Serie 1</c:v>
                </c:pt>
              </c:strCache>
            </c:strRef>
          </c:tx>
          <c:spPr>
            <a:solidFill>
              <a:srgbClr val="F47B20"/>
            </a:solidFill>
            <a:ln>
              <a:noFill/>
            </a:ln>
            <a:effectLst/>
          </c:spPr>
          <c:invertIfNegative val="0"/>
          <c:dLbls>
            <c:spPr>
              <a:noFill/>
              <a:ln>
                <a:noFill/>
              </a:ln>
              <a:effectLst/>
            </c:spPr>
            <c:txPr>
              <a:bodyPr rot="0" spcFirstLastPara="1" vertOverflow="ellipsis" vert="horz" wrap="square" anchor="ctr" anchorCtr="1"/>
              <a:lstStyle/>
              <a:p>
                <a:pPr>
                  <a:defRPr sz="2200" b="1"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c:f>
              <c:strCache>
                <c:ptCount val="1"/>
                <c:pt idx="0">
                  <c:v>Categoria 1</c:v>
                </c:pt>
              </c:strCache>
            </c:strRef>
          </c:cat>
          <c:val>
            <c:numRef>
              <c:f>Foglio1!$B$2</c:f>
              <c:numCache>
                <c:formatCode>0%</c:formatCode>
                <c:ptCount val="1"/>
                <c:pt idx="0">
                  <c:v>0.8</c:v>
                </c:pt>
              </c:numCache>
            </c:numRef>
          </c:val>
          <c:extLst>
            <c:ext xmlns:c16="http://schemas.microsoft.com/office/drawing/2014/chart" uri="{C3380CC4-5D6E-409C-BE32-E72D297353CC}">
              <c16:uniqueId val="{00000000-4DC0-47EF-85BF-81FB2ADFEE7A}"/>
            </c:ext>
          </c:extLst>
        </c:ser>
        <c:ser>
          <c:idx val="1"/>
          <c:order val="1"/>
          <c:tx>
            <c:strRef>
              <c:f>Foglio1!$C$1</c:f>
              <c:strCache>
                <c:ptCount val="1"/>
                <c:pt idx="0">
                  <c:v>Serie 2</c:v>
                </c:pt>
              </c:strCache>
            </c:strRef>
          </c:tx>
          <c:spPr>
            <a:solidFill>
              <a:srgbClr val="001E60"/>
            </a:solidFill>
            <a:ln>
              <a:noFill/>
            </a:ln>
            <a:effectLst/>
          </c:spPr>
          <c:invertIfNegative val="0"/>
          <c:dLbls>
            <c:spPr>
              <a:noFill/>
              <a:ln>
                <a:noFill/>
              </a:ln>
              <a:effectLst/>
            </c:spPr>
            <c:txPr>
              <a:bodyPr rot="0" spcFirstLastPara="1" vertOverflow="ellipsis" vert="horz" wrap="square" anchor="ctr" anchorCtr="1"/>
              <a:lstStyle/>
              <a:p>
                <a:pPr>
                  <a:defRPr sz="2200" b="1"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c:f>
              <c:strCache>
                <c:ptCount val="1"/>
                <c:pt idx="0">
                  <c:v>Categoria 1</c:v>
                </c:pt>
              </c:strCache>
            </c:strRef>
          </c:cat>
          <c:val>
            <c:numRef>
              <c:f>Foglio1!$C$2</c:f>
              <c:numCache>
                <c:formatCode>0%</c:formatCode>
                <c:ptCount val="1"/>
                <c:pt idx="0">
                  <c:v>0.2</c:v>
                </c:pt>
              </c:numCache>
            </c:numRef>
          </c:val>
          <c:extLst>
            <c:ext xmlns:c16="http://schemas.microsoft.com/office/drawing/2014/chart" uri="{C3380CC4-5D6E-409C-BE32-E72D297353CC}">
              <c16:uniqueId val="{00000001-4DC0-47EF-85BF-81FB2ADFEE7A}"/>
            </c:ext>
          </c:extLst>
        </c:ser>
        <c:dLbls>
          <c:dLblPos val="ctr"/>
          <c:showLegendKey val="0"/>
          <c:showVal val="1"/>
          <c:showCatName val="0"/>
          <c:showSerName val="0"/>
          <c:showPercent val="0"/>
          <c:showBubbleSize val="0"/>
        </c:dLbls>
        <c:gapWidth val="100"/>
        <c:overlap val="100"/>
        <c:axId val="2130310912"/>
        <c:axId val="2130322432"/>
      </c:barChart>
      <c:catAx>
        <c:axId val="2130310912"/>
        <c:scaling>
          <c:orientation val="minMax"/>
        </c:scaling>
        <c:delete val="1"/>
        <c:axPos val="l"/>
        <c:numFmt formatCode="General" sourceLinked="1"/>
        <c:majorTickMark val="none"/>
        <c:minorTickMark val="none"/>
        <c:tickLblPos val="nextTo"/>
        <c:crossAx val="2130322432"/>
        <c:crosses val="autoZero"/>
        <c:auto val="1"/>
        <c:lblAlgn val="ctr"/>
        <c:lblOffset val="100"/>
        <c:noMultiLvlLbl val="0"/>
      </c:catAx>
      <c:valAx>
        <c:axId val="2130322432"/>
        <c:scaling>
          <c:orientation val="minMax"/>
        </c:scaling>
        <c:delete val="1"/>
        <c:axPos val="b"/>
        <c:numFmt formatCode="0%" sourceLinked="1"/>
        <c:majorTickMark val="none"/>
        <c:minorTickMark val="none"/>
        <c:tickLblPos val="nextTo"/>
        <c:crossAx val="2130310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200" b="1">
          <a:solidFill>
            <a:schemeClr val="bg1"/>
          </a:solidFill>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Segnaposto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A19FE021-706E-41F7-8A59-F734FCCD14D0}" type="datetimeFigureOut">
              <a:rPr lang="en-US" smtClean="0"/>
              <a:t>6/25/2025</a:t>
            </a:fld>
            <a:endParaRPr lang="en-US"/>
          </a:p>
        </p:txBody>
      </p:sp>
      <p:sp>
        <p:nvSpPr>
          <p:cNvPr id="4" name="Segnaposto immagin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Segnaposto note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6" name="Segnaposto piè di pa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egnaposto numero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E1C4AF9-2104-4088-A904-5FD50FEA80B3}" type="slidenum">
              <a:rPr lang="en-US" smtClean="0"/>
              <a:t>‹N›</a:t>
            </a:fld>
            <a:endParaRPr lang="en-US"/>
          </a:p>
        </p:txBody>
      </p:sp>
    </p:spTree>
    <p:extLst>
      <p:ext uri="{BB962C8B-B14F-4D97-AF65-F5344CB8AC3E}">
        <p14:creationId xmlns:p14="http://schemas.microsoft.com/office/powerpoint/2010/main" val="3528780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22275" y="1241425"/>
            <a:ext cx="5953125" cy="3349625"/>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6E1C4AF9-2104-4088-A904-5FD50FEA80B3}" type="slidenum">
              <a:rPr lang="en-US" smtClean="0"/>
              <a:t>1</a:t>
            </a:fld>
            <a:endParaRPr lang="en-US"/>
          </a:p>
        </p:txBody>
      </p:sp>
    </p:spTree>
    <p:extLst>
      <p:ext uri="{BB962C8B-B14F-4D97-AF65-F5344CB8AC3E}">
        <p14:creationId xmlns:p14="http://schemas.microsoft.com/office/powerpoint/2010/main" val="42342833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22275" y="1241425"/>
            <a:ext cx="5953125" cy="3349625"/>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1C4AF9-2104-4088-A904-5FD50FEA80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103413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22275" y="1241425"/>
            <a:ext cx="5953125" cy="3349625"/>
          </a:xfrm>
        </p:spPr>
      </p:sp>
      <p:sp>
        <p:nvSpPr>
          <p:cNvPr id="3" name="Segnaposto note 2"/>
          <p:cNvSpPr>
            <a:spLocks noGrp="1"/>
          </p:cNvSpPr>
          <p:nvPr>
            <p:ph type="body" idx="1"/>
          </p:nvPr>
        </p:nvSpPr>
        <p:spPr>
          <a:xfrm>
            <a:off x="422275" y="4777194"/>
            <a:ext cx="5953125" cy="4519206"/>
          </a:xfrm>
        </p:spPr>
        <p:txBody>
          <a:bodyPr/>
          <a:lstStyle/>
          <a:p>
            <a:endParaRPr lang="it-IT" dirty="0"/>
          </a:p>
        </p:txBody>
      </p:sp>
      <p:sp>
        <p:nvSpPr>
          <p:cNvPr id="4" name="Segnaposto numero diapositiva 3"/>
          <p:cNvSpPr>
            <a:spLocks noGrp="1"/>
          </p:cNvSpPr>
          <p:nvPr>
            <p:ph type="sldNum" sz="quarter" idx="5"/>
          </p:nvPr>
        </p:nvSpPr>
        <p:spPr/>
        <p:txBody>
          <a:bodyPr/>
          <a:lstStyle/>
          <a:p>
            <a:fld id="{6E1C4AF9-2104-4088-A904-5FD50FEA80B3}" type="slidenum">
              <a:rPr lang="en-US" smtClean="0"/>
              <a:t>2</a:t>
            </a:fld>
            <a:endParaRPr lang="en-US"/>
          </a:p>
        </p:txBody>
      </p:sp>
    </p:spTree>
    <p:extLst>
      <p:ext uri="{BB962C8B-B14F-4D97-AF65-F5344CB8AC3E}">
        <p14:creationId xmlns:p14="http://schemas.microsoft.com/office/powerpoint/2010/main" val="629281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0CA8D-D50F-D05E-DA1A-34B2F07ED946}"/>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55F2F83B-8CBC-D474-DC17-7054A76EE8AD}"/>
              </a:ext>
            </a:extLst>
          </p:cNvPr>
          <p:cNvSpPr>
            <a:spLocks noGrp="1" noRot="1" noChangeAspect="1"/>
          </p:cNvSpPr>
          <p:nvPr>
            <p:ph type="sldImg"/>
          </p:nvPr>
        </p:nvSpPr>
        <p:spPr>
          <a:xfrm>
            <a:off x="422275" y="1241425"/>
            <a:ext cx="5953125" cy="3349625"/>
          </a:xfrm>
        </p:spPr>
      </p:sp>
      <p:sp>
        <p:nvSpPr>
          <p:cNvPr id="3" name="Segnaposto note 2">
            <a:extLst>
              <a:ext uri="{FF2B5EF4-FFF2-40B4-BE49-F238E27FC236}">
                <a16:creationId xmlns:a16="http://schemas.microsoft.com/office/drawing/2014/main" id="{8B30C3D4-1A50-7B59-EA06-4D61739A5DCA}"/>
              </a:ext>
            </a:extLst>
          </p:cNvPr>
          <p:cNvSpPr>
            <a:spLocks noGrp="1"/>
          </p:cNvSpPr>
          <p:nvPr>
            <p:ph type="body" idx="1"/>
          </p:nvPr>
        </p:nvSpPr>
        <p:spPr>
          <a:xfrm>
            <a:off x="422275" y="4777194"/>
            <a:ext cx="5953125" cy="4519206"/>
          </a:xfrm>
        </p:spPr>
        <p:txBody>
          <a:bodyPr/>
          <a:lstStyle/>
          <a:p>
            <a:pPr marL="171450" indent="-171450" algn="l">
              <a:spcBef>
                <a:spcPts val="1200"/>
              </a:spcBef>
              <a:spcAft>
                <a:spcPts val="1200"/>
              </a:spcAft>
              <a:buFont typeface="Arial" panose="020B0604020202020204" pitchFamily="34" charset="0"/>
              <a:buChar char="•"/>
            </a:pPr>
            <a:r>
              <a:rPr lang="it-IT" sz="1100" dirty="0">
                <a:latin typeface="Source Sans Pro (Corpo)"/>
                <a:ea typeface="MS PGothic" pitchFamily="34" charset="-128"/>
              </a:rPr>
              <a:t>Volontà chiara e diffusa di abbracciare l’innovazione, in particolare nei settori dei servizi gestionali, della consulenza specializzata e dell’integrazione di sistemi</a:t>
            </a:r>
          </a:p>
          <a:p>
            <a:pPr marL="171450" marR="0" lvl="0" indent="-171450" algn="l" defTabSz="1219170" rtl="0" eaLnBrk="1" fontAlgn="auto" latinLnBrk="0" hangingPunct="1">
              <a:spcBef>
                <a:spcPts val="1200"/>
              </a:spcBef>
              <a:spcAft>
                <a:spcPts val="1200"/>
              </a:spcAft>
              <a:buClr>
                <a:srgbClr val="F47B20"/>
              </a:buClr>
              <a:buSzTx/>
              <a:buFont typeface="Arial" panose="020B0604020202020204" pitchFamily="34" charset="0"/>
              <a:buChar char="•"/>
              <a:tabLst/>
              <a:defRPr/>
            </a:pPr>
            <a:r>
              <a:rPr lang="it-IT" sz="1100" dirty="0">
                <a:latin typeface="Source Sans Pro (Corpo)"/>
                <a:ea typeface="MS PGothic" pitchFamily="34" charset="-128"/>
              </a:rPr>
              <a:t>Questa dotazione, oltre a essere quantitativamente rilevante, si distingue per la qualità: cresce infatti la penetrazione di soluzioni Big Data, applicativi gestionali, servizi di system </a:t>
            </a:r>
            <a:r>
              <a:rPr lang="it-IT" sz="1100" dirty="0" err="1">
                <a:latin typeface="Source Sans Pro (Corpo)"/>
                <a:ea typeface="MS PGothic" pitchFamily="34" charset="-128"/>
              </a:rPr>
              <a:t>integration</a:t>
            </a:r>
            <a:r>
              <a:rPr lang="it-IT" sz="1100" dirty="0">
                <a:latin typeface="Source Sans Pro (Corpo)"/>
                <a:ea typeface="MS PGothic" pitchFamily="34" charset="-128"/>
              </a:rPr>
              <a:t> e moduli di consulenza strategica, dimostrando una maturità tecnologica superiore alla media italiana.</a:t>
            </a:r>
          </a:p>
          <a:p>
            <a:pPr marL="171450" marR="0" lvl="0" indent="-171450" algn="l" defTabSz="1219170" rtl="0" eaLnBrk="1" fontAlgn="auto" latinLnBrk="0" hangingPunct="1">
              <a:spcBef>
                <a:spcPts val="1200"/>
              </a:spcBef>
              <a:spcAft>
                <a:spcPts val="1200"/>
              </a:spcAft>
              <a:buClr>
                <a:srgbClr val="F47B20"/>
              </a:buClr>
              <a:buSzTx/>
              <a:buFont typeface="Arial" panose="020B0604020202020204" pitchFamily="34" charset="0"/>
              <a:buChar char="•"/>
              <a:tabLst/>
              <a:defRPr/>
            </a:pPr>
            <a:r>
              <a:rPr lang="it-IT" sz="1100" dirty="0">
                <a:latin typeface="Source Sans Pro (Corpo)"/>
                <a:ea typeface="MS PGothic" pitchFamily="34" charset="-128"/>
              </a:rPr>
              <a:t>Gli investimenti digitali delle imprese toscane si indirizzano principalmente verso l’ottimizzazione dei processi back‑office: tra questi, contabilità, procurement, gestione dei fornitori e del personale sono priorità riconosciute. In particolare, il livello di investimento in questa area supera la media nazionale di + 6,4 %, segno di una crescita costante verso una maggiore efficienza interna.</a:t>
            </a:r>
          </a:p>
        </p:txBody>
      </p:sp>
      <p:sp>
        <p:nvSpPr>
          <p:cNvPr id="4" name="Segnaposto numero diapositiva 3">
            <a:extLst>
              <a:ext uri="{FF2B5EF4-FFF2-40B4-BE49-F238E27FC236}">
                <a16:creationId xmlns:a16="http://schemas.microsoft.com/office/drawing/2014/main" id="{C748DC47-E4CD-DED7-582C-3A34F5B5763C}"/>
              </a:ext>
            </a:extLst>
          </p:cNvPr>
          <p:cNvSpPr>
            <a:spLocks noGrp="1"/>
          </p:cNvSpPr>
          <p:nvPr>
            <p:ph type="sldNum" sz="quarter" idx="5"/>
          </p:nvPr>
        </p:nvSpPr>
        <p:spPr/>
        <p:txBody>
          <a:bodyPr/>
          <a:lstStyle/>
          <a:p>
            <a:fld id="{6E1C4AF9-2104-4088-A904-5FD50FEA80B3}" type="slidenum">
              <a:rPr lang="en-US" smtClean="0"/>
              <a:t>3</a:t>
            </a:fld>
            <a:endParaRPr lang="en-US"/>
          </a:p>
        </p:txBody>
      </p:sp>
    </p:spTree>
    <p:extLst>
      <p:ext uri="{BB962C8B-B14F-4D97-AF65-F5344CB8AC3E}">
        <p14:creationId xmlns:p14="http://schemas.microsoft.com/office/powerpoint/2010/main" val="1551347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CB5B40-89DB-B0DF-D66F-4949193B069A}"/>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75BEC92F-CBF6-3D71-5EA3-C78F10DEC5DC}"/>
              </a:ext>
            </a:extLst>
          </p:cNvPr>
          <p:cNvSpPr>
            <a:spLocks noGrp="1" noRot="1" noChangeAspect="1"/>
          </p:cNvSpPr>
          <p:nvPr>
            <p:ph type="sldImg"/>
          </p:nvPr>
        </p:nvSpPr>
        <p:spPr>
          <a:xfrm>
            <a:off x="422275" y="1241425"/>
            <a:ext cx="5953125" cy="3349625"/>
          </a:xfrm>
        </p:spPr>
      </p:sp>
      <p:sp>
        <p:nvSpPr>
          <p:cNvPr id="3" name="Segnaposto note 2">
            <a:extLst>
              <a:ext uri="{FF2B5EF4-FFF2-40B4-BE49-F238E27FC236}">
                <a16:creationId xmlns:a16="http://schemas.microsoft.com/office/drawing/2014/main" id="{5ADDDBFB-8F92-E08A-10FA-6B67F95796CC}"/>
              </a:ext>
            </a:extLst>
          </p:cNvPr>
          <p:cNvSpPr>
            <a:spLocks noGrp="1"/>
          </p:cNvSpPr>
          <p:nvPr>
            <p:ph type="body" idx="1"/>
          </p:nvPr>
        </p:nvSpPr>
        <p:spPr>
          <a:xfrm>
            <a:off x="422275" y="4777194"/>
            <a:ext cx="5953125" cy="4519206"/>
          </a:xfrm>
        </p:spPr>
        <p:txBody>
          <a:bodyPr/>
          <a:lstStyle/>
          <a:p>
            <a:r>
              <a:rPr lang="it-IT" sz="1200" kern="1200" dirty="0">
                <a:solidFill>
                  <a:schemeClr val="tx1"/>
                </a:solidFill>
                <a:effectLst/>
                <a:latin typeface="+mn-lt"/>
                <a:ea typeface="+mn-ea"/>
                <a:cs typeface="+mn-cs"/>
              </a:rPr>
              <a:t>La pandemia ha costretto la popolazione a trovare forme alternative per continuare a svolgere la professione. Uno snodo della storia che, anche in virtù del miglioramento atteso delle infrastrutture digitali e del dibattito recente sull’Intelligenza Artificiale, permette di immaginare un futuro in cui, per esempio, cambino ulteriormente tempi di vita e tempi lavorativi, oltre che parte dello scacchiere delle professioni.</a:t>
            </a:r>
          </a:p>
          <a:p>
            <a:r>
              <a:rPr lang="it-IT" sz="1200" kern="1200" dirty="0">
                <a:solidFill>
                  <a:schemeClr val="tx1"/>
                </a:solidFill>
                <a:effectLst/>
                <a:latin typeface="+mn-lt"/>
                <a:ea typeface="+mn-ea"/>
                <a:cs typeface="+mn-cs"/>
              </a:rPr>
              <a:t>Coerentemente con questa informazione, </a:t>
            </a:r>
            <a:r>
              <a:rPr lang="it-IT" sz="1200" b="1" kern="1200" dirty="0">
                <a:solidFill>
                  <a:schemeClr val="tx1"/>
                </a:solidFill>
                <a:effectLst/>
                <a:latin typeface="+mn-lt"/>
                <a:ea typeface="+mn-ea"/>
                <a:cs typeface="+mn-cs"/>
              </a:rPr>
              <a:t>1 cittadino su 4 indica i cambiamenti relativi a salute e qualità della vita</a:t>
            </a:r>
            <a:r>
              <a:rPr lang="it-IT" sz="1200" kern="1200" dirty="0">
                <a:solidFill>
                  <a:schemeClr val="tx1"/>
                </a:solidFill>
                <a:effectLst/>
                <a:latin typeface="+mn-lt"/>
                <a:ea typeface="+mn-ea"/>
                <a:cs typeface="+mn-cs"/>
              </a:rPr>
              <a:t>. Anche in questo campo, si può presumere, l’attesa di uno sviluppo tecnologico rampante ha una forte incisività, nel contesto di una società nella quale l’età media ha raggiunto un livello particolarmente elevato.</a:t>
            </a:r>
          </a:p>
          <a:p>
            <a:r>
              <a:rPr lang="it-IT" sz="1200" kern="1200" dirty="0">
                <a:solidFill>
                  <a:schemeClr val="tx1"/>
                </a:solidFill>
                <a:effectLst/>
                <a:latin typeface="+mn-lt"/>
                <a:ea typeface="+mn-ea"/>
                <a:cs typeface="+mn-cs"/>
              </a:rPr>
              <a:t>In un quadro frastagliato, all’interno del quale non è possibile (e non è stato questo l’obiettivo dell’indagine) comprendere se la popolazione esprima speranza o timore nelle sue risposte, colpisce il </a:t>
            </a:r>
            <a:r>
              <a:rPr lang="it-IT" sz="1200" b="1" kern="1200" dirty="0">
                <a:solidFill>
                  <a:schemeClr val="tx1"/>
                </a:solidFill>
                <a:effectLst/>
                <a:latin typeface="+mn-lt"/>
                <a:ea typeface="+mn-ea"/>
                <a:cs typeface="+mn-cs"/>
              </a:rPr>
              <a:t>dato contenuto relativo all’impiego delle risorse naturali</a:t>
            </a:r>
            <a:r>
              <a:rPr lang="it-IT" sz="1200" kern="1200" dirty="0">
                <a:solidFill>
                  <a:schemeClr val="tx1"/>
                </a:solidFill>
                <a:effectLst/>
                <a:latin typeface="+mn-lt"/>
                <a:ea typeface="+mn-ea"/>
                <a:cs typeface="+mn-cs"/>
              </a:rPr>
              <a:t> (solo in terza posizione, con il 19,3% delle risposte), indicando una possibile scarsa fiducia nella disponibilità della società a modificare consumi e stili di vita in favore della tutela ambientale. </a:t>
            </a:r>
          </a:p>
          <a:p>
            <a:r>
              <a:rPr lang="it-IT" sz="1200" kern="1200" dirty="0">
                <a:solidFill>
                  <a:schemeClr val="tx1"/>
                </a:solidFill>
                <a:effectLst/>
                <a:latin typeface="+mn-lt"/>
                <a:ea typeface="+mn-ea"/>
                <a:cs typeface="+mn-cs"/>
              </a:rPr>
              <a:t>Anche l’evoluzione che dovrà affrontare la </a:t>
            </a:r>
            <a:r>
              <a:rPr lang="it-IT" sz="1200" b="1" kern="1200" dirty="0">
                <a:solidFill>
                  <a:schemeClr val="tx1"/>
                </a:solidFill>
                <a:effectLst/>
                <a:latin typeface="+mn-lt"/>
                <a:ea typeface="+mn-ea"/>
                <a:cs typeface="+mn-cs"/>
              </a:rPr>
              <a:t>gestione dei contesti urbani in termini di organizzazione complessiva di spazi e servizi</a:t>
            </a:r>
            <a:r>
              <a:rPr lang="it-IT" sz="1200" kern="1200" dirty="0">
                <a:solidFill>
                  <a:schemeClr val="tx1"/>
                </a:solidFill>
                <a:effectLst/>
                <a:latin typeface="+mn-lt"/>
                <a:ea typeface="+mn-ea"/>
                <a:cs typeface="+mn-cs"/>
              </a:rPr>
              <a:t> non sembra essere ancora pienamente percepita come una urgenza da parte delle cittadine e dei cittadini toscani in vista del traguardo temporale del 2050 (meno di 1 rispondente su 5). Una simile considerazione vale anche la bassa importanza attribuita al ripensamento dei </a:t>
            </a:r>
            <a:r>
              <a:rPr lang="it-IT" sz="1200" b="1" kern="1200" dirty="0">
                <a:solidFill>
                  <a:schemeClr val="tx1"/>
                </a:solidFill>
                <a:effectLst/>
                <a:latin typeface="+mn-lt"/>
                <a:ea typeface="+mn-ea"/>
                <a:cs typeface="+mn-cs"/>
              </a:rPr>
              <a:t>sistemi di educazione e formazione</a:t>
            </a:r>
            <a:r>
              <a:rPr lang="it-IT" sz="1200" kern="1200" dirty="0">
                <a:solidFill>
                  <a:schemeClr val="tx1"/>
                </a:solidFill>
                <a:effectLst/>
                <a:latin typeface="+mn-lt"/>
                <a:ea typeface="+mn-ea"/>
                <a:cs typeface="+mn-cs"/>
              </a:rPr>
              <a:t> e del </a:t>
            </a:r>
            <a:r>
              <a:rPr lang="it-IT" sz="1200" b="1" kern="1200" dirty="0">
                <a:solidFill>
                  <a:schemeClr val="tx1"/>
                </a:solidFill>
                <a:effectLst/>
                <a:latin typeface="+mn-lt"/>
                <a:ea typeface="+mn-ea"/>
                <a:cs typeface="+mn-cs"/>
              </a:rPr>
              <a:t>settore della cultura</a:t>
            </a:r>
            <a:r>
              <a:rPr lang="it-IT" sz="1200" kern="1200" dirty="0">
                <a:solidFill>
                  <a:schemeClr val="tx1"/>
                </a:solidFill>
                <a:effectLst/>
                <a:latin typeface="+mn-lt"/>
                <a:ea typeface="+mn-ea"/>
                <a:cs typeface="+mn-cs"/>
              </a:rPr>
              <a:t> per i decenni a venire.</a:t>
            </a:r>
          </a:p>
          <a:p>
            <a:pPr marL="0" indent="0" algn="l">
              <a:spcBef>
                <a:spcPts val="1200"/>
              </a:spcBef>
              <a:spcAft>
                <a:spcPts val="1200"/>
              </a:spcAft>
              <a:buFont typeface="Arial" panose="020B0604020202020204" pitchFamily="34" charset="0"/>
              <a:buNone/>
            </a:pPr>
            <a:endParaRPr lang="it-IT" sz="1100" dirty="0">
              <a:latin typeface="Source Sans Pro (Corpo)"/>
              <a:ea typeface="MS PGothic" pitchFamily="34" charset="-128"/>
            </a:endParaRPr>
          </a:p>
        </p:txBody>
      </p:sp>
      <p:sp>
        <p:nvSpPr>
          <p:cNvPr id="4" name="Segnaposto numero diapositiva 3">
            <a:extLst>
              <a:ext uri="{FF2B5EF4-FFF2-40B4-BE49-F238E27FC236}">
                <a16:creationId xmlns:a16="http://schemas.microsoft.com/office/drawing/2014/main" id="{64848E8B-3865-138F-F2EA-F67C0734B43D}"/>
              </a:ext>
            </a:extLst>
          </p:cNvPr>
          <p:cNvSpPr>
            <a:spLocks noGrp="1"/>
          </p:cNvSpPr>
          <p:nvPr>
            <p:ph type="sldNum" sz="quarter" idx="5"/>
          </p:nvPr>
        </p:nvSpPr>
        <p:spPr/>
        <p:txBody>
          <a:bodyPr/>
          <a:lstStyle/>
          <a:p>
            <a:fld id="{6E1C4AF9-2104-4088-A904-5FD50FEA80B3}" type="slidenum">
              <a:rPr lang="en-US" smtClean="0"/>
              <a:t>4</a:t>
            </a:fld>
            <a:endParaRPr lang="en-US"/>
          </a:p>
        </p:txBody>
      </p:sp>
    </p:spTree>
    <p:extLst>
      <p:ext uri="{BB962C8B-B14F-4D97-AF65-F5344CB8AC3E}">
        <p14:creationId xmlns:p14="http://schemas.microsoft.com/office/powerpoint/2010/main" val="3953819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02CA0E-54A8-3E9D-FB27-48DC5BC58E67}"/>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C63D4960-7419-43D2-9DA4-E59CB90C5476}"/>
              </a:ext>
            </a:extLst>
          </p:cNvPr>
          <p:cNvSpPr>
            <a:spLocks noGrp="1" noRot="1" noChangeAspect="1"/>
          </p:cNvSpPr>
          <p:nvPr>
            <p:ph type="sldImg"/>
          </p:nvPr>
        </p:nvSpPr>
        <p:spPr>
          <a:xfrm>
            <a:off x="422275" y="1241425"/>
            <a:ext cx="5953125" cy="3349625"/>
          </a:xfrm>
        </p:spPr>
      </p:sp>
      <p:sp>
        <p:nvSpPr>
          <p:cNvPr id="3" name="Segnaposto note 2">
            <a:extLst>
              <a:ext uri="{FF2B5EF4-FFF2-40B4-BE49-F238E27FC236}">
                <a16:creationId xmlns:a16="http://schemas.microsoft.com/office/drawing/2014/main" id="{E911D151-A6D9-AD05-510C-70A499657CB7}"/>
              </a:ext>
            </a:extLst>
          </p:cNvPr>
          <p:cNvSpPr>
            <a:spLocks noGrp="1"/>
          </p:cNvSpPr>
          <p:nvPr>
            <p:ph type="body" idx="1"/>
          </p:nvPr>
        </p:nvSpPr>
        <p:spPr>
          <a:xfrm>
            <a:off x="422275" y="4777194"/>
            <a:ext cx="5953125" cy="4519206"/>
          </a:xfrm>
        </p:spPr>
        <p:txBody>
          <a:bodyPr/>
          <a:lstStyle/>
          <a:p>
            <a:r>
              <a:rPr lang="it-IT" dirty="0"/>
              <a:t>Sono tre le linee d’indirizzo individuate da “Toscana 2050” con riferimento al mercato del lavoro:</a:t>
            </a:r>
          </a:p>
          <a:p>
            <a:pPr marL="228600" indent="-228600">
              <a:buAutoNum type="arabicPeriod"/>
            </a:pPr>
            <a:r>
              <a:rPr lang="it-IT" b="1" dirty="0"/>
              <a:t>Formazione interna all’azienda: normalizzare e investire</a:t>
            </a:r>
            <a:r>
              <a:rPr lang="it-IT" dirty="0"/>
              <a:t>: per rispondere al fabbisogno di nuove competenze, maggiormente legate al digitale, che rende il modello di formazione universitaria attuale in un certo senso superato, risulta necessario ripensare l’intero sistema formativo attraverso la definizione di “accordi” tra aziende e nuovi dipendenti per lo sviluppo di nuove competenze.</a:t>
            </a:r>
          </a:p>
          <a:p>
            <a:pPr marL="228600" indent="-228600">
              <a:buAutoNum type="arabicPeriod"/>
            </a:pPr>
            <a:r>
              <a:rPr lang="it-IT" b="1" dirty="0"/>
              <a:t>Migliorare il sistema della logistica investendo sulle infrastrutture </a:t>
            </a:r>
          </a:p>
          <a:p>
            <a:pPr marL="228600" indent="-228600">
              <a:buAutoNum type="arabicPeriod"/>
            </a:pPr>
            <a:r>
              <a:rPr lang="it-IT" b="1" dirty="0"/>
              <a:t>Favorire l’ingresso al mondo del lavoro attraverso una maggiore collaborazione tra imprese e sistema universitario</a:t>
            </a:r>
            <a:r>
              <a:rPr lang="it-IT" dirty="0"/>
              <a:t>. L’ingresso al mondo del lavoro non dovrebbe essere favorito esclusivamente con l’attivazione di percorsi di formazione interni all’azienda ma dovrebbe passare, innanzitutto, attraverso l’Università. Per riuscire a rispondere alla sempre maggiore richiesta di nuove competenze e di nuovi profili professionali, infatti, sarebbe opportuno puntare su un più aperto e costante dialogo tra mondo delle imprese e sistema universitario. I link presenti oggi non appaiono ancora del tutto sufficienti.</a:t>
            </a:r>
          </a:p>
        </p:txBody>
      </p:sp>
      <p:sp>
        <p:nvSpPr>
          <p:cNvPr id="4" name="Segnaposto numero diapositiva 3">
            <a:extLst>
              <a:ext uri="{FF2B5EF4-FFF2-40B4-BE49-F238E27FC236}">
                <a16:creationId xmlns:a16="http://schemas.microsoft.com/office/drawing/2014/main" id="{427BD6D2-267A-8499-960F-8CB7D6B7F27E}"/>
              </a:ext>
            </a:extLst>
          </p:cNvPr>
          <p:cNvSpPr>
            <a:spLocks noGrp="1"/>
          </p:cNvSpPr>
          <p:nvPr>
            <p:ph type="sldNum" sz="quarter" idx="5"/>
          </p:nvPr>
        </p:nvSpPr>
        <p:spPr/>
        <p:txBody>
          <a:bodyPr/>
          <a:lstStyle/>
          <a:p>
            <a:fld id="{6E1C4AF9-2104-4088-A904-5FD50FEA80B3}" type="slidenum">
              <a:rPr lang="en-US" smtClean="0"/>
              <a:t>5</a:t>
            </a:fld>
            <a:endParaRPr lang="en-US"/>
          </a:p>
        </p:txBody>
      </p:sp>
    </p:spTree>
    <p:extLst>
      <p:ext uri="{BB962C8B-B14F-4D97-AF65-F5344CB8AC3E}">
        <p14:creationId xmlns:p14="http://schemas.microsoft.com/office/powerpoint/2010/main" val="1145319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396CD-4AAF-DE33-4E5D-76B2B3F39E57}"/>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59CDEEEB-D9EB-1826-A189-2318C1ADB577}"/>
              </a:ext>
            </a:extLst>
          </p:cNvPr>
          <p:cNvSpPr>
            <a:spLocks noGrp="1" noRot="1" noChangeAspect="1"/>
          </p:cNvSpPr>
          <p:nvPr>
            <p:ph type="sldImg"/>
          </p:nvPr>
        </p:nvSpPr>
        <p:spPr>
          <a:xfrm>
            <a:off x="422275" y="1241425"/>
            <a:ext cx="5953125" cy="3349625"/>
          </a:xfrm>
        </p:spPr>
      </p:sp>
      <p:sp>
        <p:nvSpPr>
          <p:cNvPr id="3" name="Segnaposto note 2">
            <a:extLst>
              <a:ext uri="{FF2B5EF4-FFF2-40B4-BE49-F238E27FC236}">
                <a16:creationId xmlns:a16="http://schemas.microsoft.com/office/drawing/2014/main" id="{95116597-4B7C-1F42-F78F-CD4EE605F9DE}"/>
              </a:ext>
            </a:extLst>
          </p:cNvPr>
          <p:cNvSpPr>
            <a:spLocks noGrp="1"/>
          </p:cNvSpPr>
          <p:nvPr>
            <p:ph type="body" idx="1"/>
          </p:nvPr>
        </p:nvSpPr>
        <p:spPr>
          <a:xfrm>
            <a:off x="422275" y="4777194"/>
            <a:ext cx="5953125" cy="4519206"/>
          </a:xfrm>
        </p:spPr>
        <p:txBody>
          <a:bodyPr/>
          <a:lstStyle/>
          <a:p>
            <a:endParaRPr lang="it-IT" dirty="0"/>
          </a:p>
        </p:txBody>
      </p:sp>
      <p:sp>
        <p:nvSpPr>
          <p:cNvPr id="4" name="Segnaposto numero diapositiva 3">
            <a:extLst>
              <a:ext uri="{FF2B5EF4-FFF2-40B4-BE49-F238E27FC236}">
                <a16:creationId xmlns:a16="http://schemas.microsoft.com/office/drawing/2014/main" id="{2E2C4779-BCF8-54AE-5800-86A2AC9F04A4}"/>
              </a:ext>
            </a:extLst>
          </p:cNvPr>
          <p:cNvSpPr>
            <a:spLocks noGrp="1"/>
          </p:cNvSpPr>
          <p:nvPr>
            <p:ph type="sldNum" sz="quarter" idx="5"/>
          </p:nvPr>
        </p:nvSpPr>
        <p:spPr/>
        <p:txBody>
          <a:bodyPr/>
          <a:lstStyle/>
          <a:p>
            <a:fld id="{6E1C4AF9-2104-4088-A904-5FD50FEA80B3}" type="slidenum">
              <a:rPr lang="en-US" smtClean="0"/>
              <a:t>6</a:t>
            </a:fld>
            <a:endParaRPr lang="en-US"/>
          </a:p>
        </p:txBody>
      </p:sp>
    </p:spTree>
    <p:extLst>
      <p:ext uri="{BB962C8B-B14F-4D97-AF65-F5344CB8AC3E}">
        <p14:creationId xmlns:p14="http://schemas.microsoft.com/office/powerpoint/2010/main" val="10554733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8A099D-F3E9-C499-79F3-F757825A1DE7}"/>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16FA5400-4F62-BA4D-0466-A8A101C08E62}"/>
              </a:ext>
            </a:extLst>
          </p:cNvPr>
          <p:cNvSpPr>
            <a:spLocks noGrp="1" noRot="1" noChangeAspect="1"/>
          </p:cNvSpPr>
          <p:nvPr>
            <p:ph type="sldImg"/>
          </p:nvPr>
        </p:nvSpPr>
        <p:spPr>
          <a:xfrm>
            <a:off x="422275" y="1241425"/>
            <a:ext cx="5953125" cy="3349625"/>
          </a:xfrm>
        </p:spPr>
      </p:sp>
      <p:sp>
        <p:nvSpPr>
          <p:cNvPr id="3" name="Segnaposto note 2">
            <a:extLst>
              <a:ext uri="{FF2B5EF4-FFF2-40B4-BE49-F238E27FC236}">
                <a16:creationId xmlns:a16="http://schemas.microsoft.com/office/drawing/2014/main" id="{EA212002-1EF5-11D6-294C-DBE6950DDA43}"/>
              </a:ext>
            </a:extLst>
          </p:cNvPr>
          <p:cNvSpPr>
            <a:spLocks noGrp="1"/>
          </p:cNvSpPr>
          <p:nvPr>
            <p:ph type="body" idx="1"/>
          </p:nvPr>
        </p:nvSpPr>
        <p:spPr>
          <a:xfrm>
            <a:off x="422275" y="4777194"/>
            <a:ext cx="5953125" cy="4519206"/>
          </a:xfrm>
        </p:spPr>
        <p:txBody>
          <a:bodyPr/>
          <a:lstStyle/>
          <a:p>
            <a:pPr marL="287093" indent="-287093">
              <a:spcBef>
                <a:spcPts val="301"/>
              </a:spcBef>
              <a:buClr>
                <a:srgbClr val="F47B20"/>
              </a:buClr>
              <a:buFont typeface="Wingdings" panose="05000000000000000000" pitchFamily="2" charset="2"/>
              <a:buChar char="§"/>
            </a:pPr>
            <a:r>
              <a:rPr lang="it-IT" i="1" dirty="0">
                <a:latin typeface="Source Sans Pro" panose="020B0503030403020204" pitchFamily="34" charset="0"/>
                <a:ea typeface="Source Sans Pro" panose="020B0503030403020204" pitchFamily="34" charset="0"/>
              </a:rPr>
              <a:t>Data </a:t>
            </a:r>
            <a:r>
              <a:rPr lang="it-IT" i="1" dirty="0" err="1">
                <a:latin typeface="Source Sans Pro" panose="020B0503030403020204" pitchFamily="34" charset="0"/>
                <a:ea typeface="Source Sans Pro" panose="020B0503030403020204" pitchFamily="34" charset="0"/>
              </a:rPr>
              <a:t>Engineer</a:t>
            </a:r>
            <a:r>
              <a:rPr lang="it-IT" i="1" dirty="0">
                <a:latin typeface="Source Sans Pro" panose="020B0503030403020204" pitchFamily="34" charset="0"/>
                <a:ea typeface="Source Sans Pro" panose="020B0503030403020204" pitchFamily="34" charset="0"/>
              </a:rPr>
              <a:t> </a:t>
            </a:r>
            <a:r>
              <a:rPr lang="it-IT" dirty="0">
                <a:latin typeface="Source Sans Pro" panose="020B0503030403020204" pitchFamily="34" charset="0"/>
                <a:ea typeface="Source Sans Pro" panose="020B0503030403020204" pitchFamily="34" charset="0"/>
              </a:rPr>
              <a:t>(preparazione dei </a:t>
            </a:r>
            <a:r>
              <a:rPr lang="it-IT" i="1" dirty="0">
                <a:latin typeface="Source Sans Pro" panose="020B0503030403020204" pitchFamily="34" charset="0"/>
                <a:ea typeface="Source Sans Pro" panose="020B0503030403020204" pitchFamily="34" charset="0"/>
              </a:rPr>
              <a:t>Big Data </a:t>
            </a:r>
            <a:r>
              <a:rPr lang="it-IT" dirty="0">
                <a:latin typeface="Source Sans Pro" panose="020B0503030403020204" pitchFamily="34" charset="0"/>
                <a:ea typeface="Source Sans Pro" panose="020B0503030403020204" pitchFamily="34" charset="0"/>
              </a:rPr>
              <a:t>da analizzare)</a:t>
            </a:r>
          </a:p>
          <a:p>
            <a:pPr marL="287093" indent="-287093">
              <a:spcBef>
                <a:spcPts val="301"/>
              </a:spcBef>
              <a:buClr>
                <a:srgbClr val="F47B20"/>
              </a:buClr>
              <a:buFont typeface="Wingdings" panose="05000000000000000000" pitchFamily="2" charset="2"/>
              <a:buChar char="§"/>
            </a:pPr>
            <a:r>
              <a:rPr lang="it-IT" i="1" dirty="0">
                <a:latin typeface="Source Sans Pro" panose="020B0503030403020204" pitchFamily="34" charset="0"/>
                <a:ea typeface="Source Sans Pro" panose="020B0503030403020204" pitchFamily="34" charset="0"/>
              </a:rPr>
              <a:t>User Experience Designer </a:t>
            </a:r>
            <a:r>
              <a:rPr lang="it-IT" dirty="0">
                <a:latin typeface="Source Sans Pro" panose="020B0503030403020204" pitchFamily="34" charset="0"/>
                <a:ea typeface="Source Sans Pro" panose="020B0503030403020204" pitchFamily="34" charset="0"/>
              </a:rPr>
              <a:t>(ottimizzazione dell’usabilità nell’interazione tra il prodotto e il cliente)</a:t>
            </a:r>
          </a:p>
          <a:p>
            <a:pPr marL="287093" indent="-287093">
              <a:spcBef>
                <a:spcPts val="301"/>
              </a:spcBef>
              <a:buClr>
                <a:srgbClr val="F47B20"/>
              </a:buClr>
              <a:buFont typeface="Wingdings" panose="05000000000000000000" pitchFamily="2" charset="2"/>
              <a:buChar char="§"/>
            </a:pPr>
            <a:r>
              <a:rPr lang="it-IT" i="1" dirty="0">
                <a:latin typeface="Source Sans Pro" panose="020B0503030403020204" pitchFamily="34" charset="0"/>
                <a:ea typeface="Source Sans Pro" panose="020B0503030403020204" pitchFamily="34" charset="0"/>
              </a:rPr>
              <a:t>Data Scientist </a:t>
            </a:r>
            <a:r>
              <a:rPr lang="it-IT" dirty="0">
                <a:latin typeface="Source Sans Pro" panose="020B0503030403020204" pitchFamily="34" charset="0"/>
                <a:ea typeface="Source Sans Pro" panose="020B0503030403020204" pitchFamily="34" charset="0"/>
              </a:rPr>
              <a:t>(analisi e interpretazione della mole di dati a disposizione dell’azienda)</a:t>
            </a:r>
          </a:p>
          <a:p>
            <a:pPr marL="287093" indent="-287093">
              <a:spcBef>
                <a:spcPts val="301"/>
              </a:spcBef>
              <a:buClr>
                <a:srgbClr val="F47B20"/>
              </a:buClr>
              <a:buFont typeface="Wingdings" panose="05000000000000000000" pitchFamily="2" charset="2"/>
              <a:buChar char="§"/>
            </a:pPr>
            <a:r>
              <a:rPr lang="it-IT" i="1" dirty="0">
                <a:latin typeface="Source Sans Pro" panose="020B0503030403020204" pitchFamily="34" charset="0"/>
                <a:ea typeface="Source Sans Pro" panose="020B0503030403020204" pitchFamily="34" charset="0"/>
              </a:rPr>
              <a:t>Eco-designer</a:t>
            </a:r>
          </a:p>
          <a:p>
            <a:pPr marL="287093" indent="-287093">
              <a:spcBef>
                <a:spcPts val="301"/>
              </a:spcBef>
              <a:buClr>
                <a:srgbClr val="F47B20"/>
              </a:buClr>
              <a:buFont typeface="Wingdings" panose="05000000000000000000" pitchFamily="2" charset="2"/>
              <a:buChar char="§"/>
            </a:pPr>
            <a:r>
              <a:rPr lang="it-IT" dirty="0">
                <a:latin typeface="Source Sans Pro" panose="020B0503030403020204" pitchFamily="34" charset="0"/>
                <a:ea typeface="Source Sans Pro" panose="020B0503030403020204" pitchFamily="34" charset="0"/>
              </a:rPr>
              <a:t>Esperti HSE (</a:t>
            </a:r>
            <a:r>
              <a:rPr lang="it-IT" i="1" dirty="0">
                <a:latin typeface="Source Sans Pro" panose="020B0503030403020204" pitchFamily="34" charset="0"/>
                <a:ea typeface="Source Sans Pro" panose="020B0503030403020204" pitchFamily="34" charset="0"/>
              </a:rPr>
              <a:t>Health, </a:t>
            </a:r>
            <a:r>
              <a:rPr lang="it-IT" i="1" dirty="0" err="1">
                <a:latin typeface="Source Sans Pro" panose="020B0503030403020204" pitchFamily="34" charset="0"/>
                <a:ea typeface="Source Sans Pro" panose="020B0503030403020204" pitchFamily="34" charset="0"/>
              </a:rPr>
              <a:t>Safety</a:t>
            </a:r>
            <a:r>
              <a:rPr lang="it-IT" i="1" dirty="0">
                <a:latin typeface="Source Sans Pro" panose="020B0503030403020204" pitchFamily="34" charset="0"/>
                <a:ea typeface="Source Sans Pro" panose="020B0503030403020204" pitchFamily="34" charset="0"/>
              </a:rPr>
              <a:t> &amp; Environment</a:t>
            </a:r>
            <a:r>
              <a:rPr lang="it-IT" dirty="0">
                <a:latin typeface="Source Sans Pro" panose="020B0503030403020204" pitchFamily="34" charset="0"/>
                <a:ea typeface="Source Sans Pro" panose="020B0503030403020204" pitchFamily="34" charset="0"/>
              </a:rPr>
              <a:t>)</a:t>
            </a:r>
          </a:p>
          <a:p>
            <a:pPr marL="287093" indent="-287093">
              <a:spcBef>
                <a:spcPts val="301"/>
              </a:spcBef>
              <a:buClr>
                <a:srgbClr val="F47B20"/>
              </a:buClr>
              <a:buFont typeface="Wingdings" panose="05000000000000000000" pitchFamily="2" charset="2"/>
              <a:buChar char="§"/>
            </a:pPr>
            <a:r>
              <a:rPr lang="it-IT" dirty="0">
                <a:latin typeface="Source Sans Pro" panose="020B0503030403020204" pitchFamily="34" charset="0"/>
                <a:ea typeface="Source Sans Pro" panose="020B0503030403020204" pitchFamily="34" charset="0"/>
              </a:rPr>
              <a:t>Giurista ambientale</a:t>
            </a:r>
          </a:p>
          <a:p>
            <a:pPr marL="287093" indent="-287093">
              <a:spcBef>
                <a:spcPts val="301"/>
              </a:spcBef>
              <a:buClr>
                <a:srgbClr val="F47B20"/>
              </a:buClr>
              <a:buFont typeface="Wingdings" panose="05000000000000000000" pitchFamily="2" charset="2"/>
              <a:buChar char="§"/>
            </a:pPr>
            <a:r>
              <a:rPr lang="it-IT" i="1" dirty="0">
                <a:latin typeface="Source Sans Pro" panose="020B0503030403020204" pitchFamily="34" charset="0"/>
                <a:ea typeface="Source Sans Pro" panose="020B0503030403020204" pitchFamily="34" charset="0"/>
              </a:rPr>
              <a:t>Risk Manager </a:t>
            </a:r>
            <a:r>
              <a:rPr lang="it-IT" dirty="0">
                <a:latin typeface="Source Sans Pro" panose="020B0503030403020204" pitchFamily="34" charset="0"/>
                <a:ea typeface="Source Sans Pro" panose="020B0503030403020204" pitchFamily="34" charset="0"/>
              </a:rPr>
              <a:t>ambientale </a:t>
            </a:r>
            <a:r>
              <a:rPr lang="it-IT" sz="1100" dirty="0">
                <a:latin typeface="Source Sans Pro" panose="020B0503030403020204" pitchFamily="34" charset="0"/>
                <a:ea typeface="Source Sans Pro" panose="020B0503030403020204" pitchFamily="34" charset="0"/>
              </a:rPr>
              <a:t>(controllo del rispetto delle norme in materia ambientale e di sicurezza sul lavoro)</a:t>
            </a:r>
          </a:p>
          <a:p>
            <a:pPr marL="287093" indent="-287093">
              <a:spcBef>
                <a:spcPts val="301"/>
              </a:spcBef>
              <a:buClr>
                <a:srgbClr val="F47B20"/>
              </a:buClr>
              <a:buFont typeface="Wingdings" panose="05000000000000000000" pitchFamily="2" charset="2"/>
              <a:buChar char="§"/>
            </a:pPr>
            <a:r>
              <a:rPr lang="it-IT" i="1" dirty="0">
                <a:latin typeface="Source Sans Pro" panose="020B0503030403020204" pitchFamily="34" charset="0"/>
                <a:ea typeface="Source Sans Pro" panose="020B0503030403020204" pitchFamily="34" charset="0"/>
              </a:rPr>
              <a:t>Waste Manager</a:t>
            </a:r>
            <a:endParaRPr lang="it-IT" dirty="0">
              <a:latin typeface="Source Sans Pro" panose="020B0503030403020204" pitchFamily="34" charset="0"/>
              <a:ea typeface="Source Sans Pro" panose="020B0503030403020204" pitchFamily="34" charset="0"/>
            </a:endParaRPr>
          </a:p>
          <a:p>
            <a:pPr marL="287093" indent="-287093">
              <a:spcBef>
                <a:spcPts val="301"/>
              </a:spcBef>
              <a:buClr>
                <a:srgbClr val="F47B20"/>
              </a:buClr>
              <a:buFont typeface="Wingdings" panose="05000000000000000000" pitchFamily="2" charset="2"/>
              <a:buChar char="§"/>
            </a:pPr>
            <a:endParaRPr lang="it-IT" dirty="0">
              <a:latin typeface="Source Sans Pro" panose="020B0503030403020204" pitchFamily="34" charset="0"/>
              <a:ea typeface="Source Sans Pro" panose="020B0503030403020204" pitchFamily="34" charset="0"/>
            </a:endParaRPr>
          </a:p>
          <a:p>
            <a:endParaRPr lang="it-IT" dirty="0">
              <a:latin typeface="Source Sans Pro" panose="020B0503030403020204" pitchFamily="34" charset="0"/>
              <a:ea typeface="Source Sans Pro" panose="020B0503030403020204" pitchFamily="34" charset="0"/>
            </a:endParaRPr>
          </a:p>
        </p:txBody>
      </p:sp>
      <p:sp>
        <p:nvSpPr>
          <p:cNvPr id="4" name="Segnaposto numero diapositiva 3">
            <a:extLst>
              <a:ext uri="{FF2B5EF4-FFF2-40B4-BE49-F238E27FC236}">
                <a16:creationId xmlns:a16="http://schemas.microsoft.com/office/drawing/2014/main" id="{F297740D-D841-7944-FBB0-7051E4318FF6}"/>
              </a:ext>
            </a:extLst>
          </p:cNvPr>
          <p:cNvSpPr>
            <a:spLocks noGrp="1"/>
          </p:cNvSpPr>
          <p:nvPr>
            <p:ph type="sldNum" sz="quarter" idx="5"/>
          </p:nvPr>
        </p:nvSpPr>
        <p:spPr/>
        <p:txBody>
          <a:bodyPr/>
          <a:lstStyle/>
          <a:p>
            <a:fld id="{6E1C4AF9-2104-4088-A904-5FD50FEA80B3}" type="slidenum">
              <a:rPr lang="en-US" smtClean="0"/>
              <a:t>7</a:t>
            </a:fld>
            <a:endParaRPr lang="en-US"/>
          </a:p>
        </p:txBody>
      </p:sp>
    </p:spTree>
    <p:extLst>
      <p:ext uri="{BB962C8B-B14F-4D97-AF65-F5344CB8AC3E}">
        <p14:creationId xmlns:p14="http://schemas.microsoft.com/office/powerpoint/2010/main" val="471339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22275" y="1241425"/>
            <a:ext cx="5953125" cy="3349625"/>
          </a:xfrm>
        </p:spPr>
      </p:sp>
      <p:sp>
        <p:nvSpPr>
          <p:cNvPr id="3" name="Segnaposto note 2"/>
          <p:cNvSpPr>
            <a:spLocks noGrp="1"/>
          </p:cNvSpPr>
          <p:nvPr>
            <p:ph type="body" idx="1"/>
          </p:nvPr>
        </p:nvSpPr>
        <p:spPr>
          <a:xfrm>
            <a:off x="422275" y="4777194"/>
            <a:ext cx="5953125" cy="3908614"/>
          </a:xfrm>
        </p:spPr>
        <p: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it-IT" sz="1100" kern="100" dirty="0">
                <a:effectLst/>
                <a:latin typeface="Source Sans Pro" panose="020B0503030403020204" pitchFamily="34" charset="0"/>
                <a:ea typeface="Source Sans Pro" panose="020B0503030403020204" pitchFamily="34" charset="0"/>
                <a:cs typeface="Georgia" panose="02040502050405020303" pitchFamily="18" charset="0"/>
              </a:rPr>
              <a:t>La formazione a distanza subirà una profonda evoluzione, passando da modelli tradizionali a esperienze interattive in 3D. Grazie a tecnologie immersive, come la realtà aumentata e virtuale, gli studenti potranno partecipare a lezioni e laboratori da qualsiasi parte del mondo, simulando ambienti reali e favorendo un coinvolgimento attivo. Questa modalità di apprendimento avrà un impatto significativo sull’accessibilità all’istruzione, abbattendo le barriere geografiche e garantendo opportunità a una platea globale.</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it-IT" sz="1100" kern="100" dirty="0">
                <a:latin typeface="Source Sans Pro" panose="020B0503030403020204" pitchFamily="34" charset="0"/>
                <a:ea typeface="Source Sans Pro" panose="020B0503030403020204" pitchFamily="34" charset="0"/>
                <a:cs typeface="Georgia" panose="02040502050405020303" pitchFamily="18" charset="0"/>
              </a:rPr>
              <a:t>I</a:t>
            </a:r>
            <a:r>
              <a:rPr lang="it-IT" sz="1100" kern="100" dirty="0">
                <a:effectLst/>
                <a:latin typeface="Source Sans Pro" panose="020B0503030403020204" pitchFamily="34" charset="0"/>
                <a:ea typeface="Source Sans Pro" panose="020B0503030403020204" pitchFamily="34" charset="0"/>
                <a:cs typeface="Georgia" panose="02040502050405020303" pitchFamily="18" charset="0"/>
              </a:rPr>
              <a:t> tradizionali ambienti scolastici e universitari saranno affiancati da spazi fisici immersivi, progettati per favorire il “</a:t>
            </a:r>
            <a:r>
              <a:rPr lang="it-IT" sz="1100" i="1" kern="100" dirty="0">
                <a:effectLst/>
                <a:latin typeface="Source Sans Pro" panose="020B0503030403020204" pitchFamily="34" charset="0"/>
                <a:ea typeface="Source Sans Pro" panose="020B0503030403020204" pitchFamily="34" charset="0"/>
                <a:cs typeface="Georgia" panose="02040502050405020303" pitchFamily="18" charset="0"/>
              </a:rPr>
              <a:t>learning by </a:t>
            </a:r>
            <a:r>
              <a:rPr lang="it-IT" sz="1100" i="1" kern="100" dirty="0" err="1">
                <a:effectLst/>
                <a:latin typeface="Source Sans Pro" panose="020B0503030403020204" pitchFamily="34" charset="0"/>
                <a:ea typeface="Source Sans Pro" panose="020B0503030403020204" pitchFamily="34" charset="0"/>
                <a:cs typeface="Georgia" panose="02040502050405020303" pitchFamily="18" charset="0"/>
              </a:rPr>
              <a:t>doing</a:t>
            </a:r>
            <a:r>
              <a:rPr lang="it-IT" sz="1100" kern="100" dirty="0">
                <a:effectLst/>
                <a:latin typeface="Source Sans Pro" panose="020B0503030403020204" pitchFamily="34" charset="0"/>
                <a:ea typeface="Source Sans Pro" panose="020B0503030403020204" pitchFamily="34" charset="0"/>
                <a:cs typeface="Georgia" panose="02040502050405020303" pitchFamily="18" charset="0"/>
              </a:rPr>
              <a:t>”. Attraverso il concetto di </a:t>
            </a:r>
            <a:r>
              <a:rPr lang="it-IT" sz="1100" i="1" kern="100" dirty="0" err="1">
                <a:effectLst/>
                <a:latin typeface="Source Sans Pro" panose="020B0503030403020204" pitchFamily="34" charset="0"/>
                <a:ea typeface="Source Sans Pro" panose="020B0503030403020204" pitchFamily="34" charset="0"/>
                <a:cs typeface="Georgia" panose="02040502050405020303" pitchFamily="18" charset="0"/>
              </a:rPr>
              <a:t>digital</a:t>
            </a:r>
            <a:r>
              <a:rPr lang="it-IT" sz="1100" i="1" kern="100" dirty="0">
                <a:effectLst/>
                <a:latin typeface="Source Sans Pro" panose="020B0503030403020204" pitchFamily="34" charset="0"/>
                <a:ea typeface="Source Sans Pro" panose="020B0503030403020204" pitchFamily="34" charset="0"/>
                <a:cs typeface="Georgia" panose="02040502050405020303" pitchFamily="18" charset="0"/>
              </a:rPr>
              <a:t> twin</a:t>
            </a:r>
            <a:r>
              <a:rPr lang="it-IT" sz="1100" kern="100" dirty="0">
                <a:effectLst/>
                <a:latin typeface="Source Sans Pro" panose="020B0503030403020204" pitchFamily="34" charset="0"/>
                <a:ea typeface="Source Sans Pro" panose="020B0503030403020204" pitchFamily="34" charset="0"/>
                <a:cs typeface="Georgia" panose="02040502050405020303" pitchFamily="18" charset="0"/>
              </a:rPr>
              <a:t>, sarà possibile simulare scenari complessi e interattivi, permettendo agli studenti di applicare conoscenze teoriche a contesti pratici in tempo reale. Questi ambienti non solo miglioreranno la qualità dell’apprendimento, ma prepareranno gli studenti a gestire situazioni professionali con un approccio pragmatico e innovativo.</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it-IT" sz="1100" kern="100" dirty="0">
                <a:effectLst/>
                <a:latin typeface="Source Sans Pro" panose="020B0503030403020204" pitchFamily="34" charset="0"/>
                <a:ea typeface="Source Sans Pro" panose="020B0503030403020204" pitchFamily="34" charset="0"/>
                <a:cs typeface="Georgia" panose="02040502050405020303" pitchFamily="18" charset="0"/>
              </a:rPr>
              <a:t>L’introduzione di insegnanti robotici e sistemi di intelligenza artificiale nel mondo dell’istruzione rappresenterà una svolta epocale. Questi strumenti saranno in grado di adattare l’insegnamento alle esigenze individuali di ciascuno studente, monitorando progressi, individuando aree di miglioramento e fornendo supporto continuo. Sebbene non sostituiranno il ruolo umano dell’educatore, agiranno come assistenti complementari, migliorando l’efficacia e la personalizzazione del percorso formativo.</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it-IT" sz="1200" kern="100" dirty="0">
              <a:effectLst/>
              <a:latin typeface="Source Sans Pro" panose="020B0503030403020204" pitchFamily="34" charset="0"/>
              <a:ea typeface="Source Sans Pro" panose="020B0503030403020204" pitchFamily="34" charset="0"/>
              <a:cs typeface="Georgia" panose="02040502050405020303" pitchFamily="18" charset="0"/>
            </a:endParaRPr>
          </a:p>
          <a:p>
            <a:pPr>
              <a:spcBef>
                <a:spcPts val="600"/>
              </a:spcBef>
            </a:pPr>
            <a:endParaRPr lang="it-IT" dirty="0">
              <a:latin typeface="Source Sans Pro" panose="020B0503030403020204" pitchFamily="34" charset="0"/>
              <a:ea typeface="Source Sans Pro" panose="020B0503030403020204" pitchFamily="34" charset="0"/>
            </a:endParaRPr>
          </a:p>
        </p:txBody>
      </p:sp>
      <p:sp>
        <p:nvSpPr>
          <p:cNvPr id="4" name="Segnaposto numero diapositiva 3"/>
          <p:cNvSpPr>
            <a:spLocks noGrp="1"/>
          </p:cNvSpPr>
          <p:nvPr>
            <p:ph type="sldNum" sz="quarter" idx="5"/>
          </p:nvPr>
        </p:nvSpPr>
        <p:spPr/>
        <p:txBody>
          <a:bodyPr/>
          <a:lstStyle/>
          <a:p>
            <a:fld id="{6E1C4AF9-2104-4088-A904-5FD50FEA80B3}" type="slidenum">
              <a:rPr lang="en-US" smtClean="0"/>
              <a:t>8</a:t>
            </a:fld>
            <a:endParaRPr lang="en-US"/>
          </a:p>
        </p:txBody>
      </p:sp>
    </p:spTree>
    <p:extLst>
      <p:ext uri="{BB962C8B-B14F-4D97-AF65-F5344CB8AC3E}">
        <p14:creationId xmlns:p14="http://schemas.microsoft.com/office/powerpoint/2010/main" val="187659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7D13A3-B311-9952-160F-DBC50D3D99CF}"/>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131EBD54-E1F6-05B2-7129-3978E50E903C}"/>
              </a:ext>
            </a:extLst>
          </p:cNvPr>
          <p:cNvSpPr>
            <a:spLocks noGrp="1" noRot="1" noChangeAspect="1"/>
          </p:cNvSpPr>
          <p:nvPr>
            <p:ph type="sldImg"/>
          </p:nvPr>
        </p:nvSpPr>
        <p:spPr>
          <a:xfrm>
            <a:off x="422275" y="1241425"/>
            <a:ext cx="5953125" cy="3349625"/>
          </a:xfrm>
        </p:spPr>
      </p:sp>
      <p:sp>
        <p:nvSpPr>
          <p:cNvPr id="3" name="Segnaposto note 2">
            <a:extLst>
              <a:ext uri="{FF2B5EF4-FFF2-40B4-BE49-F238E27FC236}">
                <a16:creationId xmlns:a16="http://schemas.microsoft.com/office/drawing/2014/main" id="{826FB5D2-C89E-E317-25A9-4A93539A59C4}"/>
              </a:ext>
            </a:extLst>
          </p:cNvPr>
          <p:cNvSpPr>
            <a:spLocks noGrp="1"/>
          </p:cNvSpPr>
          <p:nvPr>
            <p:ph type="body" idx="1"/>
          </p:nvPr>
        </p:nvSpPr>
        <p:spPr>
          <a:xfrm>
            <a:off x="137161" y="4777194"/>
            <a:ext cx="6537960" cy="4869726"/>
          </a:xfrm>
        </p:spPr>
        <p:txBody>
          <a:bodyPr/>
          <a:lstStyle/>
          <a:p>
            <a:r>
              <a:rPr lang="it-IT" sz="1050" b="1" i="1" dirty="0"/>
              <a:t>1. Adottare una nuova concezione di percorso formativo e degli “spazi” per l’istruzione</a:t>
            </a:r>
            <a:endParaRPr lang="it-IT" sz="1050" dirty="0"/>
          </a:p>
          <a:p>
            <a:r>
              <a:rPr lang="it-IT" sz="1050" dirty="0"/>
              <a:t>A tendere, il sistema formativo regionale dovrà puntare su alcuni elementi collegati ad un ripensamento dei curricula d’insegnamento, secondo tre linee d’intervento:</a:t>
            </a:r>
          </a:p>
          <a:p>
            <a:pPr lvl="0"/>
            <a:r>
              <a:rPr lang="it-IT" sz="1050" dirty="0"/>
              <a:t>innovazione didattica, attraverso lo sviluppo di </a:t>
            </a:r>
            <a:r>
              <a:rPr lang="it-IT" sz="1050" b="1" dirty="0"/>
              <a:t>metodologie didattiche innovative e personalizzate</a:t>
            </a:r>
            <a:r>
              <a:rPr lang="it-IT" sz="1050" dirty="0"/>
              <a:t>, sfruttando le tecnologie emergenti per migliorare l'apprendimento e l'inclusione;</a:t>
            </a:r>
          </a:p>
          <a:p>
            <a:pPr lvl="0"/>
            <a:r>
              <a:rPr lang="it-IT" sz="1050" dirty="0"/>
              <a:t>formazione continua, promuovendo </a:t>
            </a:r>
            <a:r>
              <a:rPr lang="it-IT" sz="1050" b="1" dirty="0"/>
              <a:t>programmi di formazione continua per docenti e operatori scolastici</a:t>
            </a:r>
            <a:r>
              <a:rPr lang="it-IT" sz="1050" dirty="0"/>
              <a:t>, al fine di aggiornare le competenze in linea con le evoluzioni tecnologiche e pedagogiche;</a:t>
            </a:r>
          </a:p>
          <a:p>
            <a:pPr lvl="0"/>
            <a:r>
              <a:rPr lang="it-IT" sz="1050" dirty="0"/>
              <a:t>approfondimento di materie “soft”, con l’integrazione nei curricula scolastici di tematiche legate alla </a:t>
            </a:r>
            <a:r>
              <a:rPr lang="it-IT" sz="1050" b="1" dirty="0"/>
              <a:t>sostenibilità ambientale </a:t>
            </a:r>
            <a:r>
              <a:rPr lang="it-IT" sz="1050" dirty="0"/>
              <a:t>e alla</a:t>
            </a:r>
            <a:r>
              <a:rPr lang="it-IT" sz="1050" b="1" dirty="0"/>
              <a:t> cittadinanza attiva</a:t>
            </a:r>
            <a:r>
              <a:rPr lang="it-IT" sz="1050" dirty="0"/>
              <a:t>, al fine di preparare gli studenti a essere protagonisti consapevoli del futuro.</a:t>
            </a:r>
          </a:p>
          <a:p>
            <a:r>
              <a:rPr lang="it-IT" sz="1050" dirty="0"/>
              <a:t>In parallelo, occorre </a:t>
            </a:r>
            <a:r>
              <a:rPr lang="it-IT" sz="1050" b="1" dirty="0"/>
              <a:t>ripensare le sedi della didattica</a:t>
            </a:r>
            <a:r>
              <a:rPr lang="it-IT" sz="1050" dirty="0"/>
              <a:t>, non solo per tener conto del nuovo ruolo dell’insegnamento a distanza, ma anche per valorizzare la dimensione della sperimentazione (come laboratori di innovazione) e di interlocuzione con le imprese (come iniziative di apprendistato ed esperienze sul campo per approfondire la conoscenza del funzionamento del mercato del lavoro e di specifici settori produttivi).</a:t>
            </a:r>
          </a:p>
          <a:p>
            <a:r>
              <a:rPr lang="it-IT" sz="1050" b="1" i="1" dirty="0"/>
              <a:t>2. Potenziare il dialogo tra imprese e sistema della formazione per preparare le nuove generazioni ai “mestieri del futuro”</a:t>
            </a:r>
            <a:endParaRPr lang="it-IT" sz="1050" dirty="0"/>
          </a:p>
          <a:p>
            <a:r>
              <a:rPr lang="it-IT" sz="1050" dirty="0"/>
              <a:t>La Toscana è caratterizzata da due sistemi territoriali di forte innovazione: </a:t>
            </a:r>
            <a:r>
              <a:rPr lang="it-IT" sz="1050" b="1" dirty="0"/>
              <a:t>Firenze e Pisa</a:t>
            </a:r>
            <a:r>
              <a:rPr lang="it-IT" sz="1050" dirty="0"/>
              <a:t>. Entrambi questi territori hanno un forte tessuto produttivo e importanti centri di ricerca. Questi ultimi hanno una ricaduta sul sistema produttivo locale, essendo in grado di produrre spinoff e start-up innovative. Per questo motivo è importante lavorare per </a:t>
            </a:r>
            <a:r>
              <a:rPr lang="it-IT" sz="1050" b="1" dirty="0"/>
              <a:t>massimizzare la ricaduta del sistema di istruzione, formazione e ricerca sul territorio</a:t>
            </a:r>
            <a:r>
              <a:rPr lang="it-IT" sz="1050" dirty="0"/>
              <a:t>. La Toscana ha una forte capacità di produrre conoscenza e questo è il valore aggiunto. È fondamentale far un passo per permettere che questa atterri nel sistema produttivo regionale. Le imprese toscane fanno fatica ad introdurre nei loro sistemi produttivi le innovazioni tecnologiche e dotarsi di figure in grado di intercettare i cambiamenti in corso. Se in passato si è fatto fatica ad inserire tra il personale delle industrie della Toscana personale altamente qualificato, oggi la tendenza si sta progressivamente invertendo, dato che esiste una forte spinta all’innovazione, anche di processo, nelle aziende anche di piccole dimensioni. Tuttavia, </a:t>
            </a:r>
            <a:r>
              <a:rPr lang="it-IT" sz="1050" b="1" dirty="0"/>
              <a:t>mancano ancora figure altamente specializzate</a:t>
            </a:r>
            <a:r>
              <a:rPr lang="it-IT" sz="1050" dirty="0"/>
              <a:t> e le imprese faticano a trovare i profili professionali di cui hanno bisogno, a fronte di un sistema di istruzione e formazione rimasto indietro (nonostante la creazione di</a:t>
            </a:r>
            <a:r>
              <a:rPr lang="it-IT" sz="1050" b="1" dirty="0"/>
              <a:t> 10 Istituti Tecnologici Superiori - ITS Academy</a:t>
            </a:r>
            <a:r>
              <a:rPr lang="it-IT" sz="1050" dirty="0"/>
              <a:t> a supporto delle vocazioni produttive della regione) e non pienamente in grado di rispondere alle esigenze del tessuto produttivo regionale.</a:t>
            </a:r>
          </a:p>
          <a:p>
            <a:endParaRPr lang="it-IT" sz="1050" dirty="0"/>
          </a:p>
        </p:txBody>
      </p:sp>
      <p:sp>
        <p:nvSpPr>
          <p:cNvPr id="4" name="Segnaposto numero diapositiva 3">
            <a:extLst>
              <a:ext uri="{FF2B5EF4-FFF2-40B4-BE49-F238E27FC236}">
                <a16:creationId xmlns:a16="http://schemas.microsoft.com/office/drawing/2014/main" id="{567DABD1-2950-14BC-5813-BEEC82FC82DB}"/>
              </a:ext>
            </a:extLst>
          </p:cNvPr>
          <p:cNvSpPr>
            <a:spLocks noGrp="1"/>
          </p:cNvSpPr>
          <p:nvPr>
            <p:ph type="sldNum" sz="quarter" idx="5"/>
          </p:nvPr>
        </p:nvSpPr>
        <p:spPr/>
        <p:txBody>
          <a:bodyPr/>
          <a:lstStyle/>
          <a:p>
            <a:fld id="{6E1C4AF9-2104-4088-A904-5FD50FEA80B3}" type="slidenum">
              <a:rPr lang="en-US" smtClean="0"/>
              <a:t>9</a:t>
            </a:fld>
            <a:endParaRPr lang="en-US"/>
          </a:p>
        </p:txBody>
      </p:sp>
    </p:spTree>
    <p:extLst>
      <p:ext uri="{BB962C8B-B14F-4D97-AF65-F5344CB8AC3E}">
        <p14:creationId xmlns:p14="http://schemas.microsoft.com/office/powerpoint/2010/main" val="32038302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2.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4.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0.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1.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image" Target="../media/image2.jpeg"/><Relationship Id="rId1" Type="http://schemas.openxmlformats.org/officeDocument/2006/relationships/slideMaster" Target="../slideMasters/slideMaster6.xml"/><Relationship Id="rId4" Type="http://schemas.openxmlformats.org/officeDocument/2006/relationships/image" Target="../media/image17.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pertina ENG">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0" name="CasellaDiTesto 9">
            <a:extLst>
              <a:ext uri="{FF2B5EF4-FFF2-40B4-BE49-F238E27FC236}">
                <a16:creationId xmlns:a16="http://schemas.microsoft.com/office/drawing/2014/main" id="{E48C28C1-455E-4BEB-AA3B-64852673EE1D}"/>
              </a:ext>
            </a:extLst>
          </p:cNvPr>
          <p:cNvSpPr txBox="1"/>
          <p:nvPr userDrawn="1"/>
        </p:nvSpPr>
        <p:spPr>
          <a:xfrm>
            <a:off x="7108372" y="6436915"/>
            <a:ext cx="3922681" cy="230832"/>
          </a:xfrm>
          <a:prstGeom prst="rect">
            <a:avLst/>
          </a:prstGeom>
          <a:noFill/>
        </p:spPr>
        <p:txBody>
          <a:bodyPr wrap="square" rtlCol="0">
            <a:spAutoFit/>
          </a:bodyPr>
          <a:lstStyle/>
          <a:p>
            <a:pPr algn="r"/>
            <a:r>
              <a:rPr lang="en-US" sz="900">
                <a:solidFill>
                  <a:srgbClr val="001E60"/>
                </a:solidFill>
                <a:latin typeface="Source Sans Pro SemiBold" panose="020B0603030403020204" pitchFamily="34" charset="0"/>
                <a:ea typeface="Source Sans Pro SemiBold" panose="020B0603030403020204" pitchFamily="34" charset="0"/>
              </a:rPr>
              <a:t>If a man does not know to which port he is steering, no wind is favorable</a:t>
            </a:r>
          </a:p>
        </p:txBody>
      </p:sp>
      <p:sp>
        <p:nvSpPr>
          <p:cNvPr id="11" name="CasellaDiTesto 10">
            <a:extLst>
              <a:ext uri="{FF2B5EF4-FFF2-40B4-BE49-F238E27FC236}">
                <a16:creationId xmlns:a16="http://schemas.microsoft.com/office/drawing/2014/main" id="{2D942B9A-A55E-4682-A543-6D063B114899}"/>
              </a:ext>
            </a:extLst>
          </p:cNvPr>
          <p:cNvSpPr txBox="1"/>
          <p:nvPr userDrawn="1"/>
        </p:nvSpPr>
        <p:spPr>
          <a:xfrm>
            <a:off x="5399122" y="500479"/>
            <a:ext cx="6337198" cy="276999"/>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1E60"/>
                </a:solidFill>
                <a:effectLst/>
                <a:uLnTx/>
                <a:uFillTx/>
                <a:latin typeface="Source Sans Pro"/>
                <a:ea typeface="Source Sans Pro SemiBold" panose="020B0603030403020204" pitchFamily="34" charset="0"/>
                <a:cs typeface="+mn-cs"/>
              </a:rPr>
              <a:t>THINK TANK  |  MANAGEMENT CONSULTING  |  LEADERS’ EDUCATION  |  SUMMIT</a:t>
            </a:r>
          </a:p>
        </p:txBody>
      </p:sp>
      <p:sp>
        <p:nvSpPr>
          <p:cNvPr id="12" name="CasellaDiTesto 11">
            <a:extLst>
              <a:ext uri="{FF2B5EF4-FFF2-40B4-BE49-F238E27FC236}">
                <a16:creationId xmlns:a16="http://schemas.microsoft.com/office/drawing/2014/main" id="{23C36DDE-09C7-41CB-9CBE-B45153495ED5}"/>
              </a:ext>
            </a:extLst>
          </p:cNvPr>
          <p:cNvSpPr txBox="1"/>
          <p:nvPr userDrawn="1"/>
        </p:nvSpPr>
        <p:spPr>
          <a:xfrm>
            <a:off x="240886" y="6474566"/>
            <a:ext cx="1479644" cy="200055"/>
          </a:xfrm>
          <a:prstGeom prst="rect">
            <a:avLst/>
          </a:prstGeom>
          <a:solidFill>
            <a:schemeClr val="bg1"/>
          </a:solid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2021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All</a:t>
            </a: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rights</a:t>
            </a: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reserved</a:t>
            </a:r>
            <a:endPar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endParaRPr>
          </a:p>
        </p:txBody>
      </p:sp>
      <p:pic>
        <p:nvPicPr>
          <p:cNvPr id="14" name="Immagine 13">
            <a:extLst>
              <a:ext uri="{FF2B5EF4-FFF2-40B4-BE49-F238E27FC236}">
                <a16:creationId xmlns:a16="http://schemas.microsoft.com/office/drawing/2014/main" id="{119B2E5F-B3AB-4C64-9217-650FE577EDC4}"/>
              </a:ext>
            </a:extLst>
          </p:cNvPr>
          <p:cNvPicPr>
            <a:picLocks noChangeAspect="1"/>
          </p:cNvPicPr>
          <p:nvPr userDrawn="1"/>
        </p:nvPicPr>
        <p:blipFill>
          <a:blip r:embed="rId2"/>
          <a:stretch>
            <a:fillRect/>
          </a:stretch>
        </p:blipFill>
        <p:spPr>
          <a:xfrm>
            <a:off x="567211" y="456098"/>
            <a:ext cx="1801372" cy="365761"/>
          </a:xfrm>
          <a:prstGeom prst="rect">
            <a:avLst/>
          </a:prstGeom>
        </p:spPr>
      </p:pic>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sp>
        <p:nvSpPr>
          <p:cNvPr id="9" name="Segnaposto testo 5">
            <a:extLst>
              <a:ext uri="{FF2B5EF4-FFF2-40B4-BE49-F238E27FC236}">
                <a16:creationId xmlns:a16="http://schemas.microsoft.com/office/drawing/2014/main" id="{C381A194-FD88-4937-AD2C-F0D70BAFD686}"/>
              </a:ext>
            </a:extLst>
          </p:cNvPr>
          <p:cNvSpPr>
            <a:spLocks noGrp="1"/>
          </p:cNvSpPr>
          <p:nvPr>
            <p:ph type="body" sz="quarter" idx="10"/>
          </p:nvPr>
        </p:nvSpPr>
        <p:spPr>
          <a:xfrm>
            <a:off x="566738" y="1968501"/>
            <a:ext cx="7295115" cy="1082813"/>
          </a:xfrm>
          <a:prstGeom prst="rect">
            <a:avLst/>
          </a:prstGeom>
        </p:spPr>
        <p:txBody>
          <a:bodyPr/>
          <a:lstStyle>
            <a:lvl1pPr marL="0" indent="0">
              <a:spcAft>
                <a:spcPts val="1001"/>
              </a:spcAft>
              <a:buNone/>
              <a:defRPr sz="3600">
                <a:solidFill>
                  <a:srgbClr val="F47B20"/>
                </a:solidFill>
                <a:latin typeface="Source Sans Pro SemiBold" panose="020B0603030403020204" pitchFamily="34" charset="0"/>
                <a:ea typeface="Source Sans Pro SemiBold" panose="020B0603030403020204" pitchFamily="34" charset="0"/>
              </a:defRPr>
            </a:lvl1pPr>
            <a:lvl2pPr>
              <a:defRPr>
                <a:solidFill>
                  <a:srgbClr val="F47B20"/>
                </a:solidFill>
              </a:defRPr>
            </a:lvl2pPr>
            <a:lvl3pPr>
              <a:defRPr>
                <a:solidFill>
                  <a:srgbClr val="F47B20"/>
                </a:solidFill>
              </a:defRPr>
            </a:lvl3pPr>
            <a:lvl4pPr>
              <a:defRPr>
                <a:solidFill>
                  <a:srgbClr val="F47B20"/>
                </a:solidFill>
              </a:defRPr>
            </a:lvl4pPr>
            <a:lvl5pPr>
              <a:defRPr>
                <a:solidFill>
                  <a:srgbClr val="F47B20"/>
                </a:solidFill>
              </a:defRPr>
            </a:lvl5pPr>
          </a:lstStyle>
          <a:p>
            <a:pPr lvl="0"/>
            <a:r>
              <a:rPr lang="en-US" noProof="0"/>
              <a:t>Fare clic per modificare gli stili del testo dello schema</a:t>
            </a:r>
          </a:p>
        </p:txBody>
      </p:sp>
      <p:sp>
        <p:nvSpPr>
          <p:cNvPr id="13" name="Segnaposto testo 7">
            <a:extLst>
              <a:ext uri="{FF2B5EF4-FFF2-40B4-BE49-F238E27FC236}">
                <a16:creationId xmlns:a16="http://schemas.microsoft.com/office/drawing/2014/main" id="{63D91A6B-A4AD-471F-802C-625681E21BF9}"/>
              </a:ext>
            </a:extLst>
          </p:cNvPr>
          <p:cNvSpPr>
            <a:spLocks noGrp="1"/>
          </p:cNvSpPr>
          <p:nvPr>
            <p:ph type="body" sz="quarter" idx="11"/>
          </p:nvPr>
        </p:nvSpPr>
        <p:spPr>
          <a:xfrm>
            <a:off x="566738" y="3279776"/>
            <a:ext cx="7295115" cy="715963"/>
          </a:xfrm>
          <a:prstGeom prst="rect">
            <a:avLst/>
          </a:prstGeom>
        </p:spPr>
        <p:txBody>
          <a:bodyPr/>
          <a:lstStyle>
            <a:lvl1pPr marL="0" indent="0">
              <a:spcBef>
                <a:spcPts val="1200"/>
              </a:spcBef>
              <a:spcAft>
                <a:spcPts val="1200"/>
              </a:spcAft>
              <a:buNone/>
              <a:defRPr sz="1801">
                <a:solidFill>
                  <a:srgbClr val="001E60"/>
                </a:solidFill>
                <a:latin typeface="+mj-lt"/>
              </a:defRPr>
            </a:lvl1pPr>
            <a:lvl2pPr marL="457206" indent="0">
              <a:spcBef>
                <a:spcPts val="601"/>
              </a:spcBef>
              <a:spcAft>
                <a:spcPts val="601"/>
              </a:spcAft>
              <a:buNone/>
              <a:defRPr sz="1801">
                <a:solidFill>
                  <a:srgbClr val="001E60"/>
                </a:solidFill>
                <a:latin typeface="+mj-lt"/>
              </a:defRPr>
            </a:lvl2pPr>
            <a:lvl3pPr marL="914411" indent="0">
              <a:spcBef>
                <a:spcPts val="601"/>
              </a:spcBef>
              <a:spcAft>
                <a:spcPts val="601"/>
              </a:spcAft>
              <a:buNone/>
              <a:defRPr sz="1801">
                <a:solidFill>
                  <a:srgbClr val="001E60"/>
                </a:solidFill>
                <a:latin typeface="+mj-lt"/>
              </a:defRPr>
            </a:lvl3pPr>
            <a:lvl4pPr marL="1371617" indent="0">
              <a:spcBef>
                <a:spcPts val="601"/>
              </a:spcBef>
              <a:spcAft>
                <a:spcPts val="601"/>
              </a:spcAft>
              <a:buNone/>
              <a:defRPr sz="1801">
                <a:solidFill>
                  <a:srgbClr val="001E60"/>
                </a:solidFill>
                <a:latin typeface="+mj-lt"/>
              </a:defRPr>
            </a:lvl4pPr>
            <a:lvl5pPr marL="1828823" indent="0">
              <a:spcBef>
                <a:spcPts val="601"/>
              </a:spcBef>
              <a:spcAft>
                <a:spcPts val="601"/>
              </a:spcAft>
              <a:buNone/>
              <a:defRPr sz="1801">
                <a:solidFill>
                  <a:srgbClr val="001E60"/>
                </a:solidFill>
                <a:latin typeface="+mj-lt"/>
              </a:defRPr>
            </a:lvl5pPr>
          </a:lstStyle>
          <a:p>
            <a:pPr lvl="0"/>
            <a:r>
              <a:rPr lang="en-US" noProof="0"/>
              <a:t>Fare clic per modificare gli stili del testo dello schema</a:t>
            </a:r>
          </a:p>
        </p:txBody>
      </p:sp>
    </p:spTree>
    <p:extLst>
      <p:ext uri="{BB962C8B-B14F-4D97-AF65-F5344CB8AC3E}">
        <p14:creationId xmlns:p14="http://schemas.microsoft.com/office/powerpoint/2010/main" val="26351631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Ultima ENG">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pic>
        <p:nvPicPr>
          <p:cNvPr id="17" name="Immagine 16" descr="Immagine che contiene testo&#10;&#10;Descrizione generata automaticamente">
            <a:extLst>
              <a:ext uri="{FF2B5EF4-FFF2-40B4-BE49-F238E27FC236}">
                <a16:creationId xmlns:a16="http://schemas.microsoft.com/office/drawing/2014/main" id="{5BE25C0C-F577-4EE2-84EA-BCA174D5228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0764" y="6074303"/>
            <a:ext cx="1186437" cy="542234"/>
          </a:xfrm>
          <a:prstGeom prst="rect">
            <a:avLst/>
          </a:prstGeom>
        </p:spPr>
      </p:pic>
      <p:pic>
        <p:nvPicPr>
          <p:cNvPr id="18" name="Immagine 17">
            <a:extLst>
              <a:ext uri="{FF2B5EF4-FFF2-40B4-BE49-F238E27FC236}">
                <a16:creationId xmlns:a16="http://schemas.microsoft.com/office/drawing/2014/main" id="{3F3B73F4-0B4C-40E3-95F7-50E353363253}"/>
              </a:ext>
            </a:extLst>
          </p:cNvPr>
          <p:cNvPicPr>
            <a:picLocks noChangeAspect="1"/>
          </p:cNvPicPr>
          <p:nvPr userDrawn="1"/>
        </p:nvPicPr>
        <p:blipFill>
          <a:blip r:embed="rId4"/>
          <a:stretch>
            <a:fillRect/>
          </a:stretch>
        </p:blipFill>
        <p:spPr>
          <a:xfrm>
            <a:off x="9755686" y="449723"/>
            <a:ext cx="1801372" cy="365761"/>
          </a:xfrm>
          <a:prstGeom prst="rect">
            <a:avLst/>
          </a:prstGeom>
        </p:spPr>
      </p:pic>
      <p:sp>
        <p:nvSpPr>
          <p:cNvPr id="19" name="CasellaDiTesto 18">
            <a:extLst>
              <a:ext uri="{FF2B5EF4-FFF2-40B4-BE49-F238E27FC236}">
                <a16:creationId xmlns:a16="http://schemas.microsoft.com/office/drawing/2014/main" id="{4BE889EA-BA37-4F96-B04C-15487D8FAE5F}"/>
              </a:ext>
            </a:extLst>
          </p:cNvPr>
          <p:cNvSpPr txBox="1"/>
          <p:nvPr userDrawn="1"/>
        </p:nvSpPr>
        <p:spPr>
          <a:xfrm>
            <a:off x="1837662" y="3988926"/>
            <a:ext cx="8516679" cy="792589"/>
          </a:xfrm>
          <a:prstGeom prst="rect">
            <a:avLst/>
          </a:prstGeom>
          <a:noFill/>
        </p:spPr>
        <p:txBody>
          <a:bodyPr wrap="square">
            <a:spAutoFit/>
          </a:bodyPr>
          <a:lstStyle/>
          <a:p>
            <a:pPr algn="ctr">
              <a:lnSpc>
                <a:spcPct val="130000"/>
              </a:lnSpc>
            </a:pPr>
            <a:r>
              <a:rPr lang="en-US" sz="1200" i="1">
                <a:solidFill>
                  <a:srgbClr val="001E60"/>
                </a:solidFill>
                <a:latin typeface="Source Sans Pro" panose="020B0503030403020204" pitchFamily="34" charset="0"/>
                <a:ea typeface="Source Sans Pro" panose="020B0503030403020204" pitchFamily="34" charset="0"/>
              </a:rPr>
              <a:t>Again in 2021, for the eighth consecutive year, </a:t>
            </a:r>
            <a:r>
              <a:rPr lang="en-US" sz="1200" b="1" i="1">
                <a:solidFill>
                  <a:srgbClr val="001E60"/>
                </a:solidFill>
                <a:latin typeface="Source Sans Pro" panose="020B0503030403020204" pitchFamily="34" charset="0"/>
                <a:ea typeface="Source Sans Pro" panose="020B0503030403020204" pitchFamily="34" charset="0"/>
              </a:rPr>
              <a:t>The European House – </a:t>
            </a:r>
            <a:r>
              <a:rPr lang="en-US" sz="1200" b="1" i="1" err="1">
                <a:solidFill>
                  <a:srgbClr val="001E60"/>
                </a:solidFill>
                <a:latin typeface="Source Sans Pro" panose="020B0503030403020204" pitchFamily="34" charset="0"/>
                <a:ea typeface="Source Sans Pro" panose="020B0503030403020204" pitchFamily="34" charset="0"/>
              </a:rPr>
              <a:t>Ambrosetti</a:t>
            </a:r>
            <a:r>
              <a:rPr lang="en-US" sz="1200" b="1" i="1">
                <a:solidFill>
                  <a:srgbClr val="001E60"/>
                </a:solidFill>
                <a:latin typeface="Source Sans Pro" panose="020B0503030403020204" pitchFamily="34" charset="0"/>
                <a:ea typeface="Source Sans Pro" panose="020B0503030403020204" pitchFamily="34" charset="0"/>
              </a:rPr>
              <a:t> was named</a:t>
            </a:r>
            <a:r>
              <a:rPr lang="en-US" sz="1200" i="1">
                <a:solidFill>
                  <a:srgbClr val="001E60"/>
                </a:solidFill>
                <a:latin typeface="Source Sans Pro" panose="020B0503030403020204" pitchFamily="34" charset="0"/>
                <a:ea typeface="Source Sans Pro" panose="020B0503030403020204" pitchFamily="34" charset="0"/>
              </a:rPr>
              <a:t> — in the category “Best Private Think Tanks” — </a:t>
            </a:r>
            <a:r>
              <a:rPr lang="en-US" sz="1200" b="1" i="1">
                <a:solidFill>
                  <a:srgbClr val="001E60"/>
                </a:solidFill>
                <a:latin typeface="Source Sans Pro" panose="020B0503030403020204" pitchFamily="34" charset="0"/>
                <a:ea typeface="Source Sans Pro" panose="020B0503030403020204" pitchFamily="34" charset="0"/>
              </a:rPr>
              <a:t>the no. 1 think tank in Italy, the no. 4 think tank in the European Union and among the most respected independents in the world out of 11,175 on a global level in the latest “Global Go To Think Tanks Report”</a:t>
            </a:r>
            <a:r>
              <a:rPr lang="en-US" sz="1200" i="1">
                <a:solidFill>
                  <a:srgbClr val="001E60"/>
                </a:solidFill>
                <a:latin typeface="Source Sans Pro" panose="020B0503030403020204" pitchFamily="34" charset="0"/>
                <a:ea typeface="Source Sans Pro" panose="020B0503030403020204" pitchFamily="34" charset="0"/>
              </a:rPr>
              <a:t> of the University of Pennsylvania.</a:t>
            </a:r>
          </a:p>
        </p:txBody>
      </p:sp>
    </p:spTree>
    <p:extLst>
      <p:ext uri="{BB962C8B-B14F-4D97-AF65-F5344CB8AC3E}">
        <p14:creationId xmlns:p14="http://schemas.microsoft.com/office/powerpoint/2010/main" val="237197630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Bullet ITA">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6261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contenuto 5">
            <a:extLst>
              <a:ext uri="{FF2B5EF4-FFF2-40B4-BE49-F238E27FC236}">
                <a16:creationId xmlns:a16="http://schemas.microsoft.com/office/drawing/2014/main" id="{2997CE74-FC52-42EC-BC36-AA81E2E2126A}"/>
              </a:ext>
            </a:extLst>
          </p:cNvPr>
          <p:cNvSpPr>
            <a:spLocks noGrp="1"/>
          </p:cNvSpPr>
          <p:nvPr>
            <p:ph sz="quarter" idx="11"/>
          </p:nvPr>
        </p:nvSpPr>
        <p:spPr>
          <a:xfrm>
            <a:off x="403227" y="1083366"/>
            <a:ext cx="11384494" cy="4780723"/>
          </a:xfrm>
          <a:prstGeom prst="rect">
            <a:avLst/>
          </a:prstGeom>
        </p:spPr>
        <p:txBody>
          <a:bodyPr/>
          <a:lstStyle>
            <a:lvl1pPr marL="360005" indent="-360005">
              <a:lnSpc>
                <a:spcPct val="100000"/>
              </a:lnSpc>
              <a:spcBef>
                <a:spcPts val="601"/>
              </a:spcBef>
              <a:buClr>
                <a:srgbClr val="F47B20"/>
              </a:buClr>
              <a:buFont typeface="Arial" panose="020B0604020202020204" pitchFamily="34" charset="0"/>
              <a:buChar char="•"/>
              <a:defRPr sz="1801">
                <a:solidFill>
                  <a:srgbClr val="001E60"/>
                </a:solidFill>
              </a:defRPr>
            </a:lvl1pPr>
            <a:lvl2pPr marL="720009" indent="-358780">
              <a:lnSpc>
                <a:spcPct val="100000"/>
              </a:lnSpc>
              <a:spcBef>
                <a:spcPts val="601"/>
              </a:spcBef>
              <a:buClr>
                <a:srgbClr val="F47B20"/>
              </a:buClr>
              <a:buSzPct val="75000"/>
              <a:buFont typeface="Courier New" panose="02070309020205020404" pitchFamily="49" charset="0"/>
              <a:buChar char="o"/>
              <a:defRPr sz="1801">
                <a:solidFill>
                  <a:srgbClr val="001E60"/>
                </a:solidFill>
              </a:defRPr>
            </a:lvl2pPr>
            <a:lvl3pPr marL="715972" indent="0">
              <a:buClr>
                <a:srgbClr val="F47B20"/>
              </a:buClr>
              <a:buNone/>
              <a:defRPr sz="1801">
                <a:solidFill>
                  <a:srgbClr val="001E60"/>
                </a:solidFill>
              </a:defRPr>
            </a:lvl3pPr>
            <a:lvl4pPr marL="1431943" indent="-358780">
              <a:buClr>
                <a:srgbClr val="F47B20"/>
              </a:buClr>
              <a:buSzPct val="70000"/>
              <a:buFont typeface="Courier New" panose="02070309020205020404" pitchFamily="49" charset="0"/>
              <a:buChar char="o"/>
              <a:defRPr sz="1801">
                <a:solidFill>
                  <a:srgbClr val="001E60"/>
                </a:solidFill>
              </a:defRPr>
            </a:lvl4pPr>
            <a:lvl5pPr marL="1789135" indent="-357192">
              <a:buClr>
                <a:srgbClr val="F47B20"/>
              </a:buClr>
              <a:defRPr sz="1801">
                <a:solidFill>
                  <a:srgbClr val="001E60"/>
                </a:solidFill>
              </a:defRPr>
            </a:lvl5pPr>
          </a:lstStyle>
          <a:p>
            <a:pPr lvl="0"/>
            <a:r>
              <a:rPr lang="it-IT"/>
              <a:t>Fare clic per modificare gli stili del testo dello schema</a:t>
            </a:r>
          </a:p>
          <a:p>
            <a:pPr lvl="1"/>
            <a:r>
              <a:rPr lang="it-IT"/>
              <a:t>Secondo livello</a:t>
            </a:r>
          </a:p>
        </p:txBody>
      </p:sp>
      <p:sp>
        <p:nvSpPr>
          <p:cNvPr id="3" name="Segnaposto testo 5">
            <a:extLst>
              <a:ext uri="{FF2B5EF4-FFF2-40B4-BE49-F238E27FC236}">
                <a16:creationId xmlns:a16="http://schemas.microsoft.com/office/drawing/2014/main" id="{115F9EB4-1361-FEBD-080C-421BFD79A741}"/>
              </a:ext>
            </a:extLst>
          </p:cNvPr>
          <p:cNvSpPr>
            <a:spLocks noGrp="1"/>
          </p:cNvSpPr>
          <p:nvPr>
            <p:ph type="body" sz="quarter" idx="10"/>
          </p:nvPr>
        </p:nvSpPr>
        <p:spPr>
          <a:xfrm>
            <a:off x="1597093" y="6450289"/>
            <a:ext cx="8488363" cy="277812"/>
          </a:xfrm>
          <a:prstGeom prst="rect">
            <a:avLst/>
          </a:prstGeom>
        </p:spPr>
        <p:txBody>
          <a:bodyPr/>
          <a:lstStyle>
            <a:lvl1pPr marL="0" indent="0">
              <a:buNone/>
              <a:defRPr sz="1200">
                <a:solidFill>
                  <a:schemeClr val="bg1">
                    <a:lumMod val="50000"/>
                  </a:schemeClr>
                </a:solidFill>
              </a:defRPr>
            </a:lvl1pPr>
          </a:lstStyle>
          <a:p>
            <a:pPr lvl="0"/>
            <a:endParaRPr lang="en-US"/>
          </a:p>
        </p:txBody>
      </p:sp>
    </p:spTree>
    <p:extLst>
      <p:ext uri="{BB962C8B-B14F-4D97-AF65-F5344CB8AC3E}">
        <p14:creationId xmlns:p14="http://schemas.microsoft.com/office/powerpoint/2010/main" val="1817530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Bullet ENG">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756190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5" name="Segnaposto testo 5">
            <a:extLst>
              <a:ext uri="{FF2B5EF4-FFF2-40B4-BE49-F238E27FC236}">
                <a16:creationId xmlns:a16="http://schemas.microsoft.com/office/drawing/2014/main" id="{004B5E75-9EA3-4549-AEDA-BA091BFEA31B}"/>
              </a:ext>
            </a:extLst>
          </p:cNvPr>
          <p:cNvSpPr>
            <a:spLocks noGrp="1"/>
          </p:cNvSpPr>
          <p:nvPr>
            <p:ph type="body" sz="quarter" idx="10"/>
          </p:nvPr>
        </p:nvSpPr>
        <p:spPr>
          <a:xfrm>
            <a:off x="2206693" y="6311555"/>
            <a:ext cx="8488363" cy="277812"/>
          </a:xfrm>
          <a:prstGeom prst="rect">
            <a:avLst/>
          </a:prstGeom>
        </p:spPr>
        <p:txBody>
          <a:bodyPr/>
          <a:lstStyle>
            <a:lvl1pPr marL="0" indent="0">
              <a:buNone/>
              <a:defRPr sz="1200">
                <a:solidFill>
                  <a:schemeClr val="bg1">
                    <a:lumMod val="50000"/>
                  </a:schemeClr>
                </a:solidFill>
              </a:defRPr>
            </a:lvl1pPr>
          </a:lstStyle>
          <a:p>
            <a:pPr lvl="0"/>
            <a:endParaRPr lang="en-US"/>
          </a:p>
        </p:txBody>
      </p:sp>
      <p:sp>
        <p:nvSpPr>
          <p:cNvPr id="6" name="Segnaposto contenuto 5">
            <a:extLst>
              <a:ext uri="{FF2B5EF4-FFF2-40B4-BE49-F238E27FC236}">
                <a16:creationId xmlns:a16="http://schemas.microsoft.com/office/drawing/2014/main" id="{2997CE74-FC52-42EC-BC36-AA81E2E2126A}"/>
              </a:ext>
            </a:extLst>
          </p:cNvPr>
          <p:cNvSpPr>
            <a:spLocks noGrp="1"/>
          </p:cNvSpPr>
          <p:nvPr>
            <p:ph sz="quarter" idx="11"/>
          </p:nvPr>
        </p:nvSpPr>
        <p:spPr>
          <a:xfrm>
            <a:off x="403227" y="1083366"/>
            <a:ext cx="11384494" cy="4780723"/>
          </a:xfrm>
          <a:prstGeom prst="rect">
            <a:avLst/>
          </a:prstGeom>
        </p:spPr>
        <p:txBody>
          <a:bodyPr/>
          <a:lstStyle>
            <a:lvl1pPr marL="357192" indent="-357192">
              <a:buClr>
                <a:srgbClr val="F47B20"/>
              </a:buClr>
              <a:buFont typeface="Wingdings" panose="05000000000000000000" pitchFamily="2" charset="2"/>
              <a:buChar char="§"/>
              <a:defRPr sz="1801">
                <a:solidFill>
                  <a:srgbClr val="001E60"/>
                </a:solidFill>
              </a:defRPr>
            </a:lvl1pPr>
            <a:lvl2pPr marL="715972" indent="-358780">
              <a:buClr>
                <a:srgbClr val="F47B20"/>
              </a:buClr>
              <a:buSzPct val="50000"/>
              <a:buFont typeface="Wingdings" panose="05000000000000000000" pitchFamily="2" charset="2"/>
              <a:buChar char="q"/>
              <a:defRPr sz="1801">
                <a:solidFill>
                  <a:srgbClr val="001E60"/>
                </a:solidFill>
              </a:defRPr>
            </a:lvl2pPr>
            <a:lvl3pPr marL="1073164" indent="-357192">
              <a:buClr>
                <a:srgbClr val="F47B20"/>
              </a:buClr>
              <a:defRPr sz="1801">
                <a:solidFill>
                  <a:srgbClr val="001E60"/>
                </a:solidFill>
              </a:defRPr>
            </a:lvl3pPr>
            <a:lvl4pPr marL="1431943" indent="-358780">
              <a:buClr>
                <a:srgbClr val="F47B20"/>
              </a:buClr>
              <a:buSzPct val="70000"/>
              <a:buFont typeface="Courier New" panose="02070309020205020404" pitchFamily="49" charset="0"/>
              <a:buChar char="o"/>
              <a:defRPr sz="1801">
                <a:solidFill>
                  <a:srgbClr val="001E60"/>
                </a:solidFill>
              </a:defRPr>
            </a:lvl4pPr>
            <a:lvl5pPr marL="1789135" indent="-357192">
              <a:buClr>
                <a:srgbClr val="F47B20"/>
              </a:buClr>
              <a:defRPr sz="1801">
                <a:solidFill>
                  <a:srgbClr val="001E60"/>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Tree>
    <p:extLst>
      <p:ext uri="{BB962C8B-B14F-4D97-AF65-F5344CB8AC3E}">
        <p14:creationId xmlns:p14="http://schemas.microsoft.com/office/powerpoint/2010/main" val="34984834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olo 2 righ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19896" y="260649"/>
            <a:ext cx="11352212" cy="576263"/>
          </a:xfrm>
          <a:prstGeom prst="rect">
            <a:avLst/>
          </a:prstGeom>
        </p:spPr>
        <p:txBody>
          <a:bodyPr/>
          <a:lstStyle>
            <a:lvl1pPr>
              <a:defRPr sz="2800">
                <a:solidFill>
                  <a:srgbClr val="F47B20"/>
                </a:solidFill>
                <a:latin typeface="Source Sans Pro SemiBold" panose="020B0603030403020204" pitchFamily="34" charset="0"/>
                <a:ea typeface="Source Sans Pro SemiBold" panose="020B0603030403020204" pitchFamily="34" charset="0"/>
              </a:defRPr>
            </a:lvl1pPr>
          </a:lstStyle>
          <a:p>
            <a:r>
              <a:rPr lang="it-IT"/>
              <a:t>Fare clic per modificare lo stile del titolo dello schema</a:t>
            </a:r>
            <a:br>
              <a:rPr lang="it-IT"/>
            </a:br>
            <a:br>
              <a:rPr lang="it-IT"/>
            </a:br>
            <a:endParaRPr lang="it-IT"/>
          </a:p>
        </p:txBody>
      </p:sp>
    </p:spTree>
    <p:extLst>
      <p:ext uri="{BB962C8B-B14F-4D97-AF65-F5344CB8AC3E}">
        <p14:creationId xmlns:p14="http://schemas.microsoft.com/office/powerpoint/2010/main" val="149662761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olo e bullet">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6261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testo 5">
            <a:extLst>
              <a:ext uri="{FF2B5EF4-FFF2-40B4-BE49-F238E27FC236}">
                <a16:creationId xmlns:a16="http://schemas.microsoft.com/office/drawing/2014/main" id="{F43C7B1A-5D74-4852-8F13-DA3E8B3373DB}"/>
              </a:ext>
            </a:extLst>
          </p:cNvPr>
          <p:cNvSpPr>
            <a:spLocks noGrp="1"/>
          </p:cNvSpPr>
          <p:nvPr>
            <p:ph type="body" sz="quarter" idx="10"/>
          </p:nvPr>
        </p:nvSpPr>
        <p:spPr>
          <a:xfrm>
            <a:off x="2206693" y="6311555"/>
            <a:ext cx="8488363" cy="277812"/>
          </a:xfrm>
          <a:prstGeom prst="rect">
            <a:avLst/>
          </a:prstGeom>
        </p:spPr>
        <p:txBody>
          <a:bodyPr/>
          <a:lstStyle>
            <a:lvl1pPr marL="0" indent="0">
              <a:buNone/>
              <a:defRPr sz="1200">
                <a:solidFill>
                  <a:schemeClr val="bg1">
                    <a:lumMod val="50000"/>
                  </a:schemeClr>
                </a:solidFill>
              </a:defRPr>
            </a:lvl1pPr>
          </a:lstStyle>
          <a:p>
            <a:pPr lvl="0"/>
            <a:endParaRPr lang="en-US"/>
          </a:p>
        </p:txBody>
      </p:sp>
      <p:sp>
        <p:nvSpPr>
          <p:cNvPr id="5" name="Segnaposto testo 4">
            <a:extLst>
              <a:ext uri="{FF2B5EF4-FFF2-40B4-BE49-F238E27FC236}">
                <a16:creationId xmlns:a16="http://schemas.microsoft.com/office/drawing/2014/main" id="{B325C0D9-8EE5-4942-818C-789CA58F9729}"/>
              </a:ext>
            </a:extLst>
          </p:cNvPr>
          <p:cNvSpPr>
            <a:spLocks noGrp="1"/>
          </p:cNvSpPr>
          <p:nvPr>
            <p:ph type="body" sz="quarter" idx="11"/>
          </p:nvPr>
        </p:nvSpPr>
        <p:spPr>
          <a:xfrm>
            <a:off x="402693" y="1172817"/>
            <a:ext cx="11384494" cy="4830418"/>
          </a:xfrm>
          <a:prstGeom prst="rect">
            <a:avLst/>
          </a:prstGeom>
        </p:spPr>
        <p:txBody>
          <a:bodyPr/>
          <a:lstStyle>
            <a:lvl1pPr marL="228604" indent="-228604">
              <a:spcBef>
                <a:spcPts val="601"/>
              </a:spcBef>
              <a:buClr>
                <a:srgbClr val="F47B20"/>
              </a:buClr>
              <a:buFont typeface="Wingdings" panose="05000000000000000000" pitchFamily="2" charset="2"/>
              <a:buChar char="§"/>
              <a:defRPr sz="1801">
                <a:solidFill>
                  <a:srgbClr val="001E60"/>
                </a:solidFill>
              </a:defRPr>
            </a:lvl1pPr>
            <a:lvl2pPr marL="685809" indent="-228604">
              <a:spcBef>
                <a:spcPts val="601"/>
              </a:spcBef>
              <a:buClr>
                <a:srgbClr val="F47B20"/>
              </a:buClr>
              <a:buSzPct val="50000"/>
              <a:buFont typeface="Wingdings" panose="05000000000000000000" pitchFamily="2" charset="2"/>
              <a:buChar char="q"/>
              <a:defRPr sz="1801">
                <a:solidFill>
                  <a:srgbClr val="001E60"/>
                </a:solidFill>
              </a:defRPr>
            </a:lvl2pPr>
            <a:lvl3pPr marL="1143015" indent="-228604">
              <a:spcBef>
                <a:spcPts val="601"/>
              </a:spcBef>
              <a:buClr>
                <a:srgbClr val="F47B20"/>
              </a:buClr>
              <a:buFont typeface="Source Sans Pro" panose="020B0503030403020204" pitchFamily="34" charset="0"/>
              <a:buChar char="−"/>
              <a:defRPr sz="1801">
                <a:solidFill>
                  <a:srgbClr val="001E60"/>
                </a:solidFill>
              </a:defRPr>
            </a:lvl3pPr>
            <a:lvl4pPr>
              <a:defRPr>
                <a:solidFill>
                  <a:srgbClr val="001E60"/>
                </a:solidFill>
              </a:defRPr>
            </a:lvl4pPr>
            <a:lvl5pPr>
              <a:defRPr>
                <a:solidFill>
                  <a:srgbClr val="001E60"/>
                </a:solidFill>
              </a:defRPr>
            </a:lvl5pPr>
          </a:lstStyle>
          <a:p>
            <a:pPr lvl="0"/>
            <a:r>
              <a:rPr lang="it-IT"/>
              <a:t>Fare clic per modificare gli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41638083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4_Diapositiva titolo">
    <p:spTree>
      <p:nvGrpSpPr>
        <p:cNvPr id="1" name=""/>
        <p:cNvGrpSpPr/>
        <p:nvPr/>
      </p:nvGrpSpPr>
      <p:grpSpPr>
        <a:xfrm>
          <a:off x="0" y="0"/>
          <a:ext cx="0" cy="0"/>
          <a:chOff x="0" y="0"/>
          <a:chExt cx="0" cy="0"/>
        </a:xfrm>
      </p:grpSpPr>
      <p:sp>
        <p:nvSpPr>
          <p:cNvPr id="6" name="Segnaposto titolo 3">
            <a:extLst>
              <a:ext uri="{FF2B5EF4-FFF2-40B4-BE49-F238E27FC236}">
                <a16:creationId xmlns:a16="http://schemas.microsoft.com/office/drawing/2014/main" id="{AE3AEA8B-7EF7-48E0-8F79-68E36FE072CE}"/>
              </a:ext>
            </a:extLst>
          </p:cNvPr>
          <p:cNvSpPr>
            <a:spLocks noGrp="1"/>
          </p:cNvSpPr>
          <p:nvPr>
            <p:ph type="title"/>
          </p:nvPr>
        </p:nvSpPr>
        <p:spPr>
          <a:xfrm>
            <a:off x="403315" y="1"/>
            <a:ext cx="11380699" cy="918324"/>
          </a:xfrm>
          <a:prstGeom prst="rect">
            <a:avLst/>
          </a:prstGeom>
        </p:spPr>
        <p:txBody>
          <a:bodyPr vert="horz" lIns="91440" tIns="45720" rIns="91440" bIns="45720" rtlCol="0" anchor="ctr">
            <a:noAutofit/>
          </a:bodyPr>
          <a:lstStyle/>
          <a:p>
            <a:r>
              <a:rPr lang="it-IT"/>
              <a:t>Fare clic per modificare lo stile del titolo dello schema</a:t>
            </a:r>
          </a:p>
        </p:txBody>
      </p:sp>
      <p:sp>
        <p:nvSpPr>
          <p:cNvPr id="7" name="Segnaposto testo 4">
            <a:extLst>
              <a:ext uri="{FF2B5EF4-FFF2-40B4-BE49-F238E27FC236}">
                <a16:creationId xmlns:a16="http://schemas.microsoft.com/office/drawing/2014/main" id="{FE5B7131-B83A-4CD1-A50A-7F5AF6DF9DD2}"/>
              </a:ext>
            </a:extLst>
          </p:cNvPr>
          <p:cNvSpPr>
            <a:spLocks noGrp="1"/>
          </p:cNvSpPr>
          <p:nvPr>
            <p:ph idx="1"/>
          </p:nvPr>
        </p:nvSpPr>
        <p:spPr>
          <a:xfrm>
            <a:off x="399888" y="1311248"/>
            <a:ext cx="11380697"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21758018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Contenuto di testo">
    <p:spTree>
      <p:nvGrpSpPr>
        <p:cNvPr id="1" name=""/>
        <p:cNvGrpSpPr/>
        <p:nvPr/>
      </p:nvGrpSpPr>
      <p:grpSpPr>
        <a:xfrm>
          <a:off x="0" y="0"/>
          <a:ext cx="0" cy="0"/>
          <a:chOff x="0" y="0"/>
          <a:chExt cx="0" cy="0"/>
        </a:xfrm>
      </p:grpSpPr>
      <p:sp>
        <p:nvSpPr>
          <p:cNvPr id="41" name="Titolo Testo"/>
          <p:cNvSpPr txBox="1">
            <a:spLocks noGrp="1"/>
          </p:cNvSpPr>
          <p:nvPr>
            <p:ph type="title"/>
          </p:nvPr>
        </p:nvSpPr>
        <p:spPr>
          <a:prstGeom prst="rect">
            <a:avLst/>
          </a:prstGeom>
        </p:spPr>
        <p:txBody>
          <a:bodyPr/>
          <a:lstStyle/>
          <a:p>
            <a:r>
              <a:rPr err="1"/>
              <a:t>Titolo</a:t>
            </a:r>
            <a:r>
              <a:t> </a:t>
            </a:r>
            <a:r>
              <a:rPr err="1"/>
              <a:t>Testo</a:t>
            </a:r>
            <a:endParaRPr/>
          </a:p>
        </p:txBody>
      </p:sp>
      <p:sp>
        <p:nvSpPr>
          <p:cNvPr id="42" name="Segnaposto testo 8"/>
          <p:cNvSpPr>
            <a:spLocks noGrp="1"/>
          </p:cNvSpPr>
          <p:nvPr>
            <p:ph type="body" sz="half" idx="21"/>
          </p:nvPr>
        </p:nvSpPr>
        <p:spPr>
          <a:xfrm>
            <a:off x="1849042" y="2008146"/>
            <a:ext cx="9836946" cy="3371319"/>
          </a:xfrm>
          <a:prstGeom prst="rect">
            <a:avLst/>
          </a:prstGeom>
        </p:spPr>
        <p:txBody>
          <a:bodyPr anchor="t"/>
          <a:lstStyle/>
          <a:p>
            <a:pPr>
              <a:lnSpc>
                <a:spcPct val="100000"/>
              </a:lnSpc>
              <a:defRPr>
                <a:solidFill>
                  <a:srgbClr val="898988"/>
                </a:solidFill>
                <a:latin typeface="Raleway"/>
                <a:ea typeface="Raleway"/>
                <a:cs typeface="Raleway"/>
                <a:sym typeface="Raleway"/>
              </a:defRPr>
            </a:pPr>
            <a:endParaRPr/>
          </a:p>
        </p:txBody>
      </p:sp>
      <p:pic>
        <p:nvPicPr>
          <p:cNvPr id="7" name="Google Shape;40;p5" descr="Immagine"/>
          <p:cNvPicPr preferRelativeResize="0"/>
          <p:nvPr userDrawn="1"/>
        </p:nvPicPr>
        <p:blipFill rotWithShape="1">
          <a:blip r:embed="rId2">
            <a:alphaModFix/>
          </a:blip>
          <a:srcRect/>
          <a:stretch/>
        </p:blipFill>
        <p:spPr>
          <a:xfrm>
            <a:off x="9995553" y="6217100"/>
            <a:ext cx="1582996" cy="609533"/>
          </a:xfrm>
          <a:prstGeom prst="rect">
            <a:avLst/>
          </a:prstGeom>
          <a:noFill/>
          <a:ln>
            <a:noFill/>
          </a:ln>
        </p:spPr>
      </p:pic>
      <p:sp>
        <p:nvSpPr>
          <p:cNvPr id="8" name="Google Shape;41;p5"/>
          <p:cNvSpPr txBox="1">
            <a:spLocks/>
          </p:cNvSpPr>
          <p:nvPr userDrawn="1"/>
        </p:nvSpPr>
        <p:spPr>
          <a:xfrm>
            <a:off x="881476" y="6164916"/>
            <a:ext cx="459644" cy="357805"/>
          </a:xfrm>
          <a:prstGeom prst="rect">
            <a:avLst/>
          </a:prstGeom>
          <a:noFill/>
          <a:ln w="12700">
            <a:noFill/>
            <a:miter lim="400000"/>
          </a:ln>
        </p:spPr>
        <p:txBody>
          <a:bodyPr spcFirstLastPara="1" wrap="square" lIns="60933" tIns="60933" rIns="60933" bIns="60933" anchor="ctr"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lvl="0"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1pPr>
            <a:lvl2pPr marL="0" marR="0" lvl="1"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2pPr>
            <a:lvl3pPr marL="0" marR="0" lvl="2"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3pPr>
            <a:lvl4pPr marL="0" marR="0" lvl="3"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4pPr>
            <a:lvl5pPr marL="0" marR="0" lvl="4"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5pPr>
            <a:lvl6pPr marL="0" marR="0" lvl="5"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6pPr>
            <a:lvl7pPr marL="0" marR="0" lvl="6"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7pPr>
            <a:lvl8pPr marL="0" marR="0" lvl="7"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8pPr>
            <a:lvl9pPr marL="0" marR="0" lvl="8"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9pPr>
          </a:lstStyle>
          <a:p>
            <a:fld id="{00000000-1234-1234-1234-123412341234}" type="slidenum">
              <a:rPr lang="en-US" sz="1200" b="0" smtClean="0"/>
              <a:pPr/>
              <a:t>‹N›</a:t>
            </a:fld>
            <a:endParaRPr lang="en-US" sz="1200" b="0"/>
          </a:p>
        </p:txBody>
      </p:sp>
    </p:spTree>
    <p:extLst>
      <p:ext uri="{BB962C8B-B14F-4D97-AF65-F5344CB8AC3E}">
        <p14:creationId xmlns:p14="http://schemas.microsoft.com/office/powerpoint/2010/main" val="216860327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94C82428-55DE-4FD0-9741-C26246591EE0}"/>
              </a:ext>
            </a:extLst>
          </p:cNvPr>
          <p:cNvGraphicFramePr>
            <a:graphicFrameLocks noChangeAspect="1"/>
          </p:cNvGraphicFramePr>
          <p:nvPr userDrawn="1">
            <p:custDataLst>
              <p:tags r:id="rId1"/>
            </p:custDataLst>
            <p:extLst>
              <p:ext uri="{D42A27DB-BD31-4B8C-83A1-F6EECF244321}">
                <p14:modId xmlns:p14="http://schemas.microsoft.com/office/powerpoint/2010/main" val="2396375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94C82428-55DE-4FD0-9741-C26246591E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olo 1">
            <a:extLst>
              <a:ext uri="{FF2B5EF4-FFF2-40B4-BE49-F238E27FC236}">
                <a16:creationId xmlns:a16="http://schemas.microsoft.com/office/drawing/2014/main" id="{C2BA107F-013F-4A8B-A41A-1FAC206EA0E0}"/>
              </a:ext>
            </a:extLst>
          </p:cNvPr>
          <p:cNvSpPr>
            <a:spLocks noGrp="1"/>
          </p:cNvSpPr>
          <p:nvPr>
            <p:ph type="title" hasCustomPrompt="1"/>
          </p:nvPr>
        </p:nvSpPr>
        <p:spPr>
          <a:xfrm>
            <a:off x="419896" y="260649"/>
            <a:ext cx="11352212" cy="576263"/>
          </a:xfrm>
          <a:prstGeom prst="rect">
            <a:avLst/>
          </a:prstGeom>
        </p:spPr>
        <p:txBody>
          <a:bodyPr vert="horz"/>
          <a:lstStyle>
            <a:lvl1pPr>
              <a:defRPr sz="2800">
                <a:solidFill>
                  <a:srgbClr val="F47B20"/>
                </a:solidFill>
                <a:latin typeface="Source Sans Pro SemiBold" panose="020B0603030403020204" pitchFamily="34" charset="0"/>
                <a:ea typeface="Source Sans Pro SemiBold" panose="020B0603030403020204" pitchFamily="34" charset="0"/>
              </a:defRPr>
            </a:lvl1pPr>
          </a:lstStyle>
          <a:p>
            <a:r>
              <a:rPr lang="it-IT"/>
              <a:t>Fare clic per modificare lo stile del titolo dello schema</a:t>
            </a:r>
            <a:br>
              <a:rPr lang="it-IT"/>
            </a:br>
            <a:endParaRPr lang="it-IT"/>
          </a:p>
        </p:txBody>
      </p:sp>
    </p:spTree>
    <p:extLst>
      <p:ext uri="{BB962C8B-B14F-4D97-AF65-F5344CB8AC3E}">
        <p14:creationId xmlns:p14="http://schemas.microsoft.com/office/powerpoint/2010/main" val="41435058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olo e contenuto">
    <p:spTree>
      <p:nvGrpSpPr>
        <p:cNvPr id="1" name=""/>
        <p:cNvGrpSpPr/>
        <p:nvPr/>
      </p:nvGrpSpPr>
      <p:grpSpPr>
        <a:xfrm>
          <a:off x="0" y="0"/>
          <a:ext cx="0" cy="0"/>
          <a:chOff x="0" y="0"/>
          <a:chExt cx="0" cy="0"/>
        </a:xfrm>
      </p:grpSpPr>
      <p:sp>
        <p:nvSpPr>
          <p:cNvPr id="8"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9"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cxnSp>
        <p:nvCxnSpPr>
          <p:cNvPr id="4" name="Connettore diritto 3">
            <a:extLst>
              <a:ext uri="{FF2B5EF4-FFF2-40B4-BE49-F238E27FC236}">
                <a16:creationId xmlns:a16="http://schemas.microsoft.com/office/drawing/2014/main" id="{B3FA94F2-F432-4074-80C8-0476AC6F63D2}"/>
              </a:ext>
            </a:extLst>
          </p:cNvPr>
          <p:cNvCxnSpPr>
            <a:cxnSpLocks/>
          </p:cNvCxnSpPr>
          <p:nvPr userDrawn="1"/>
        </p:nvCxnSpPr>
        <p:spPr>
          <a:xfrm>
            <a:off x="399888" y="918324"/>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32176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ertina ENG">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0" name="CasellaDiTesto 9">
            <a:extLst>
              <a:ext uri="{FF2B5EF4-FFF2-40B4-BE49-F238E27FC236}">
                <a16:creationId xmlns:a16="http://schemas.microsoft.com/office/drawing/2014/main" id="{E48C28C1-455E-4BEB-AA3B-64852673EE1D}"/>
              </a:ext>
            </a:extLst>
          </p:cNvPr>
          <p:cNvSpPr txBox="1"/>
          <p:nvPr userDrawn="1"/>
        </p:nvSpPr>
        <p:spPr>
          <a:xfrm>
            <a:off x="7108372" y="6436915"/>
            <a:ext cx="3922681" cy="230832"/>
          </a:xfrm>
          <a:prstGeom prst="rect">
            <a:avLst/>
          </a:prstGeom>
          <a:noFill/>
        </p:spPr>
        <p:txBody>
          <a:bodyPr wrap="square" rtlCol="0">
            <a:spAutoFit/>
          </a:bodyPr>
          <a:lstStyle/>
          <a:p>
            <a:pPr algn="r"/>
            <a:r>
              <a:rPr lang="en-US" sz="900">
                <a:solidFill>
                  <a:srgbClr val="001E60"/>
                </a:solidFill>
                <a:latin typeface="Source Sans Pro SemiBold" panose="020B0603030403020204" pitchFamily="34" charset="0"/>
                <a:ea typeface="Source Sans Pro SemiBold" panose="020B0603030403020204" pitchFamily="34" charset="0"/>
              </a:rPr>
              <a:t>If a man does not know to which port he is steering, no wind is favorable</a:t>
            </a:r>
          </a:p>
        </p:txBody>
      </p:sp>
      <p:sp>
        <p:nvSpPr>
          <p:cNvPr id="11" name="CasellaDiTesto 10">
            <a:extLst>
              <a:ext uri="{FF2B5EF4-FFF2-40B4-BE49-F238E27FC236}">
                <a16:creationId xmlns:a16="http://schemas.microsoft.com/office/drawing/2014/main" id="{2D942B9A-A55E-4682-A543-6D063B114899}"/>
              </a:ext>
            </a:extLst>
          </p:cNvPr>
          <p:cNvSpPr txBox="1"/>
          <p:nvPr userDrawn="1"/>
        </p:nvSpPr>
        <p:spPr>
          <a:xfrm>
            <a:off x="5399122" y="500479"/>
            <a:ext cx="6337198" cy="276999"/>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1E60"/>
                </a:solidFill>
                <a:effectLst/>
                <a:uLnTx/>
                <a:uFillTx/>
                <a:latin typeface="Source Sans Pro"/>
                <a:ea typeface="Source Sans Pro SemiBold" panose="020B0603030403020204" pitchFamily="34" charset="0"/>
                <a:cs typeface="+mn-cs"/>
              </a:rPr>
              <a:t>THINK TANK  |  MANAGEMENT CONSULTING  |  LEADERS’ EDUCATION  |  SUMMIT</a:t>
            </a:r>
          </a:p>
        </p:txBody>
      </p:sp>
      <p:sp>
        <p:nvSpPr>
          <p:cNvPr id="12" name="CasellaDiTesto 11">
            <a:extLst>
              <a:ext uri="{FF2B5EF4-FFF2-40B4-BE49-F238E27FC236}">
                <a16:creationId xmlns:a16="http://schemas.microsoft.com/office/drawing/2014/main" id="{23C36DDE-09C7-41CB-9CBE-B45153495ED5}"/>
              </a:ext>
            </a:extLst>
          </p:cNvPr>
          <p:cNvSpPr txBox="1"/>
          <p:nvPr userDrawn="1"/>
        </p:nvSpPr>
        <p:spPr>
          <a:xfrm>
            <a:off x="240886" y="6474566"/>
            <a:ext cx="1479644" cy="200055"/>
          </a:xfrm>
          <a:prstGeom prst="rect">
            <a:avLst/>
          </a:prstGeom>
          <a:solidFill>
            <a:schemeClr val="bg1"/>
          </a:solid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2021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All</a:t>
            </a: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rights</a:t>
            </a: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reserved</a:t>
            </a:r>
            <a:endPar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endParaRPr>
          </a:p>
        </p:txBody>
      </p:sp>
      <p:pic>
        <p:nvPicPr>
          <p:cNvPr id="14" name="Immagine 13">
            <a:extLst>
              <a:ext uri="{FF2B5EF4-FFF2-40B4-BE49-F238E27FC236}">
                <a16:creationId xmlns:a16="http://schemas.microsoft.com/office/drawing/2014/main" id="{119B2E5F-B3AB-4C64-9217-650FE577ED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7211" y="467534"/>
            <a:ext cx="1801372" cy="342888"/>
          </a:xfrm>
          <a:prstGeom prst="rect">
            <a:avLst/>
          </a:prstGeom>
        </p:spPr>
      </p:pic>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sp>
        <p:nvSpPr>
          <p:cNvPr id="9" name="Segnaposto testo 5">
            <a:extLst>
              <a:ext uri="{FF2B5EF4-FFF2-40B4-BE49-F238E27FC236}">
                <a16:creationId xmlns:a16="http://schemas.microsoft.com/office/drawing/2014/main" id="{C381A194-FD88-4937-AD2C-F0D70BAFD686}"/>
              </a:ext>
            </a:extLst>
          </p:cNvPr>
          <p:cNvSpPr>
            <a:spLocks noGrp="1"/>
          </p:cNvSpPr>
          <p:nvPr>
            <p:ph type="body" sz="quarter" idx="10"/>
          </p:nvPr>
        </p:nvSpPr>
        <p:spPr>
          <a:xfrm>
            <a:off x="566738" y="1968501"/>
            <a:ext cx="7295115" cy="1082813"/>
          </a:xfrm>
          <a:prstGeom prst="rect">
            <a:avLst/>
          </a:prstGeom>
        </p:spPr>
        <p:txBody>
          <a:bodyPr/>
          <a:lstStyle>
            <a:lvl1pPr marL="0" indent="0">
              <a:spcAft>
                <a:spcPts val="1001"/>
              </a:spcAft>
              <a:buNone/>
              <a:defRPr sz="3600">
                <a:solidFill>
                  <a:srgbClr val="F47B20"/>
                </a:solidFill>
                <a:latin typeface="Source Sans Pro SemiBold" panose="020B0603030403020204" pitchFamily="34" charset="0"/>
                <a:ea typeface="Source Sans Pro SemiBold" panose="020B0603030403020204" pitchFamily="34" charset="0"/>
              </a:defRPr>
            </a:lvl1pPr>
            <a:lvl2pPr>
              <a:defRPr>
                <a:solidFill>
                  <a:srgbClr val="F47B20"/>
                </a:solidFill>
              </a:defRPr>
            </a:lvl2pPr>
            <a:lvl3pPr>
              <a:defRPr>
                <a:solidFill>
                  <a:srgbClr val="F47B20"/>
                </a:solidFill>
              </a:defRPr>
            </a:lvl3pPr>
            <a:lvl4pPr>
              <a:defRPr>
                <a:solidFill>
                  <a:srgbClr val="F47B20"/>
                </a:solidFill>
              </a:defRPr>
            </a:lvl4pPr>
            <a:lvl5pPr>
              <a:defRPr>
                <a:solidFill>
                  <a:srgbClr val="F47B20"/>
                </a:solidFill>
              </a:defRPr>
            </a:lvl5pPr>
          </a:lstStyle>
          <a:p>
            <a:pPr lvl="0"/>
            <a:r>
              <a:rPr lang="en-US" noProof="0"/>
              <a:t>Fare clic per modificare gli stili del testo dello schema</a:t>
            </a:r>
          </a:p>
        </p:txBody>
      </p:sp>
      <p:sp>
        <p:nvSpPr>
          <p:cNvPr id="13" name="Segnaposto testo 7">
            <a:extLst>
              <a:ext uri="{FF2B5EF4-FFF2-40B4-BE49-F238E27FC236}">
                <a16:creationId xmlns:a16="http://schemas.microsoft.com/office/drawing/2014/main" id="{63D91A6B-A4AD-471F-802C-625681E21BF9}"/>
              </a:ext>
            </a:extLst>
          </p:cNvPr>
          <p:cNvSpPr>
            <a:spLocks noGrp="1"/>
          </p:cNvSpPr>
          <p:nvPr>
            <p:ph type="body" sz="quarter" idx="11"/>
          </p:nvPr>
        </p:nvSpPr>
        <p:spPr>
          <a:xfrm>
            <a:off x="566738" y="3279776"/>
            <a:ext cx="7295115" cy="715963"/>
          </a:xfrm>
          <a:prstGeom prst="rect">
            <a:avLst/>
          </a:prstGeom>
        </p:spPr>
        <p:txBody>
          <a:bodyPr/>
          <a:lstStyle>
            <a:lvl1pPr marL="0" indent="0">
              <a:spcBef>
                <a:spcPts val="1200"/>
              </a:spcBef>
              <a:spcAft>
                <a:spcPts val="1200"/>
              </a:spcAft>
              <a:buNone/>
              <a:defRPr sz="1801">
                <a:solidFill>
                  <a:srgbClr val="001E60"/>
                </a:solidFill>
                <a:latin typeface="+mj-lt"/>
              </a:defRPr>
            </a:lvl1pPr>
            <a:lvl2pPr marL="457206" indent="0">
              <a:spcBef>
                <a:spcPts val="601"/>
              </a:spcBef>
              <a:spcAft>
                <a:spcPts val="601"/>
              </a:spcAft>
              <a:buNone/>
              <a:defRPr sz="1801">
                <a:solidFill>
                  <a:srgbClr val="001E60"/>
                </a:solidFill>
                <a:latin typeface="+mj-lt"/>
              </a:defRPr>
            </a:lvl2pPr>
            <a:lvl3pPr marL="914411" indent="0">
              <a:spcBef>
                <a:spcPts val="601"/>
              </a:spcBef>
              <a:spcAft>
                <a:spcPts val="601"/>
              </a:spcAft>
              <a:buNone/>
              <a:defRPr sz="1801">
                <a:solidFill>
                  <a:srgbClr val="001E60"/>
                </a:solidFill>
                <a:latin typeface="+mj-lt"/>
              </a:defRPr>
            </a:lvl3pPr>
            <a:lvl4pPr marL="1371617" indent="0">
              <a:spcBef>
                <a:spcPts val="601"/>
              </a:spcBef>
              <a:spcAft>
                <a:spcPts val="601"/>
              </a:spcAft>
              <a:buNone/>
              <a:defRPr sz="1801">
                <a:solidFill>
                  <a:srgbClr val="001E60"/>
                </a:solidFill>
                <a:latin typeface="+mj-lt"/>
              </a:defRPr>
            </a:lvl4pPr>
            <a:lvl5pPr marL="1828823" indent="0">
              <a:spcBef>
                <a:spcPts val="601"/>
              </a:spcBef>
              <a:spcAft>
                <a:spcPts val="601"/>
              </a:spcAft>
              <a:buNone/>
              <a:defRPr sz="1801">
                <a:solidFill>
                  <a:srgbClr val="001E60"/>
                </a:solidFill>
                <a:latin typeface="+mj-lt"/>
              </a:defRPr>
            </a:lvl5pPr>
          </a:lstStyle>
          <a:p>
            <a:pPr lvl="0"/>
            <a:r>
              <a:rPr lang="en-US" noProof="0"/>
              <a:t>Fare clic per modificare gli stili del testo dello schema</a:t>
            </a:r>
          </a:p>
        </p:txBody>
      </p:sp>
    </p:spTree>
    <p:extLst>
      <p:ext uri="{BB962C8B-B14F-4D97-AF65-F5344CB8AC3E}">
        <p14:creationId xmlns:p14="http://schemas.microsoft.com/office/powerpoint/2010/main" val="27999773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ertina ITA">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0" name="CasellaDiTesto 9">
            <a:extLst>
              <a:ext uri="{FF2B5EF4-FFF2-40B4-BE49-F238E27FC236}">
                <a16:creationId xmlns:a16="http://schemas.microsoft.com/office/drawing/2014/main" id="{E48C28C1-455E-4BEB-AA3B-64852673EE1D}"/>
              </a:ext>
            </a:extLst>
          </p:cNvPr>
          <p:cNvSpPr txBox="1"/>
          <p:nvPr userDrawn="1"/>
        </p:nvSpPr>
        <p:spPr>
          <a:xfrm>
            <a:off x="7108372" y="6436915"/>
            <a:ext cx="3922681" cy="230832"/>
          </a:xfrm>
          <a:prstGeom prst="rect">
            <a:avLst/>
          </a:prstGeom>
          <a:noFill/>
        </p:spPr>
        <p:txBody>
          <a:bodyPr wrap="square" rtlCol="0">
            <a:spAutoFit/>
          </a:bodyPr>
          <a:lstStyle/>
          <a:p>
            <a:pPr algn="r"/>
            <a:r>
              <a:rPr lang="it-IT" sz="900">
                <a:solidFill>
                  <a:srgbClr val="001E60"/>
                </a:solidFill>
                <a:latin typeface="Source Sans Pro SemiBold" panose="020B0603030403020204" pitchFamily="34" charset="0"/>
                <a:ea typeface="Source Sans Pro SemiBold" panose="020B0603030403020204" pitchFamily="34" charset="0"/>
              </a:rPr>
              <a:t>Non c’è vento a favore per chi non conosce il porto</a:t>
            </a:r>
          </a:p>
        </p:txBody>
      </p:sp>
      <p:sp>
        <p:nvSpPr>
          <p:cNvPr id="11" name="CasellaDiTesto 10">
            <a:extLst>
              <a:ext uri="{FF2B5EF4-FFF2-40B4-BE49-F238E27FC236}">
                <a16:creationId xmlns:a16="http://schemas.microsoft.com/office/drawing/2014/main" id="{2D942B9A-A55E-4682-A543-6D063B114899}"/>
              </a:ext>
            </a:extLst>
          </p:cNvPr>
          <p:cNvSpPr txBox="1"/>
          <p:nvPr userDrawn="1"/>
        </p:nvSpPr>
        <p:spPr>
          <a:xfrm>
            <a:off x="5399122" y="500479"/>
            <a:ext cx="6337198" cy="276999"/>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1E60"/>
                </a:solidFill>
                <a:effectLst/>
                <a:uLnTx/>
                <a:uFillTx/>
                <a:latin typeface="Source Sans Pro"/>
                <a:ea typeface="Source Sans Pro SemiBold" panose="020B0603030403020204" pitchFamily="34" charset="0"/>
                <a:cs typeface="+mn-cs"/>
              </a:rPr>
              <a:t>THINK TANK  |  MANAGEMENT CONSULTING  |  LEADERS’ EDUCATION  |  SUMMIT</a:t>
            </a:r>
          </a:p>
        </p:txBody>
      </p:sp>
      <p:sp>
        <p:nvSpPr>
          <p:cNvPr id="12" name="CasellaDiTesto 11">
            <a:extLst>
              <a:ext uri="{FF2B5EF4-FFF2-40B4-BE49-F238E27FC236}">
                <a16:creationId xmlns:a16="http://schemas.microsoft.com/office/drawing/2014/main" id="{23C36DDE-09C7-41CB-9CBE-B45153495ED5}"/>
              </a:ext>
            </a:extLst>
          </p:cNvPr>
          <p:cNvSpPr txBox="1"/>
          <p:nvPr userDrawn="1"/>
        </p:nvSpPr>
        <p:spPr>
          <a:xfrm>
            <a:off x="240886" y="6474566"/>
            <a:ext cx="1479644" cy="200055"/>
          </a:xfrm>
          <a:prstGeom prst="rect">
            <a:avLst/>
          </a:prstGeom>
          <a:solidFill>
            <a:schemeClr val="bg1"/>
          </a:solid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2021 Tutti i diritti riservati</a:t>
            </a:r>
          </a:p>
        </p:txBody>
      </p:sp>
      <p:pic>
        <p:nvPicPr>
          <p:cNvPr id="14" name="Immagine 13">
            <a:extLst>
              <a:ext uri="{FF2B5EF4-FFF2-40B4-BE49-F238E27FC236}">
                <a16:creationId xmlns:a16="http://schemas.microsoft.com/office/drawing/2014/main" id="{119B2E5F-B3AB-4C64-9217-650FE577ED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7211" y="467534"/>
            <a:ext cx="1801372" cy="342888"/>
          </a:xfrm>
          <a:prstGeom prst="rect">
            <a:avLst/>
          </a:prstGeom>
        </p:spPr>
      </p:pic>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sp>
        <p:nvSpPr>
          <p:cNvPr id="6" name="Segnaposto testo 5">
            <a:extLst>
              <a:ext uri="{FF2B5EF4-FFF2-40B4-BE49-F238E27FC236}">
                <a16:creationId xmlns:a16="http://schemas.microsoft.com/office/drawing/2014/main" id="{EF52FC51-0662-4EDC-B14C-1634434B37E8}"/>
              </a:ext>
            </a:extLst>
          </p:cNvPr>
          <p:cNvSpPr>
            <a:spLocks noGrp="1"/>
          </p:cNvSpPr>
          <p:nvPr>
            <p:ph type="body" sz="quarter" idx="10"/>
          </p:nvPr>
        </p:nvSpPr>
        <p:spPr>
          <a:xfrm>
            <a:off x="566738" y="1968501"/>
            <a:ext cx="7295115" cy="1082813"/>
          </a:xfrm>
          <a:prstGeom prst="rect">
            <a:avLst/>
          </a:prstGeom>
        </p:spPr>
        <p:txBody>
          <a:bodyPr/>
          <a:lstStyle>
            <a:lvl1pPr marL="0" indent="0">
              <a:spcAft>
                <a:spcPts val="1001"/>
              </a:spcAft>
              <a:buNone/>
              <a:defRPr sz="3600">
                <a:solidFill>
                  <a:srgbClr val="F47B20"/>
                </a:solidFill>
                <a:latin typeface="Source Sans Pro SemiBold" panose="020B0603030403020204" pitchFamily="34" charset="0"/>
                <a:ea typeface="Source Sans Pro SemiBold" panose="020B0603030403020204" pitchFamily="34" charset="0"/>
              </a:defRPr>
            </a:lvl1pPr>
            <a:lvl2pPr>
              <a:defRPr>
                <a:solidFill>
                  <a:srgbClr val="F47B20"/>
                </a:solidFill>
              </a:defRPr>
            </a:lvl2pPr>
            <a:lvl3pPr>
              <a:defRPr>
                <a:solidFill>
                  <a:srgbClr val="F47B20"/>
                </a:solidFill>
              </a:defRPr>
            </a:lvl3pPr>
            <a:lvl4pPr>
              <a:defRPr>
                <a:solidFill>
                  <a:srgbClr val="F47B20"/>
                </a:solidFill>
              </a:defRPr>
            </a:lvl4pPr>
            <a:lvl5pPr>
              <a:defRPr>
                <a:solidFill>
                  <a:srgbClr val="F47B20"/>
                </a:solidFill>
              </a:defRPr>
            </a:lvl5pPr>
          </a:lstStyle>
          <a:p>
            <a:pPr lvl="0"/>
            <a:r>
              <a:rPr lang="it-IT"/>
              <a:t>Fare clic per modificare gli stili del testo dello schema</a:t>
            </a:r>
          </a:p>
        </p:txBody>
      </p:sp>
      <p:sp>
        <p:nvSpPr>
          <p:cNvPr id="8" name="Segnaposto testo 7">
            <a:extLst>
              <a:ext uri="{FF2B5EF4-FFF2-40B4-BE49-F238E27FC236}">
                <a16:creationId xmlns:a16="http://schemas.microsoft.com/office/drawing/2014/main" id="{D6EB0F33-CCF1-46FD-B414-D857213FC7A2}"/>
              </a:ext>
            </a:extLst>
          </p:cNvPr>
          <p:cNvSpPr>
            <a:spLocks noGrp="1"/>
          </p:cNvSpPr>
          <p:nvPr>
            <p:ph type="body" sz="quarter" idx="11"/>
          </p:nvPr>
        </p:nvSpPr>
        <p:spPr>
          <a:xfrm>
            <a:off x="566738" y="3279776"/>
            <a:ext cx="7295115" cy="715963"/>
          </a:xfrm>
          <a:prstGeom prst="rect">
            <a:avLst/>
          </a:prstGeom>
        </p:spPr>
        <p:txBody>
          <a:bodyPr/>
          <a:lstStyle>
            <a:lvl1pPr marL="0" indent="0">
              <a:spcBef>
                <a:spcPts val="1200"/>
              </a:spcBef>
              <a:spcAft>
                <a:spcPts val="1200"/>
              </a:spcAft>
              <a:buNone/>
              <a:defRPr sz="1801">
                <a:solidFill>
                  <a:srgbClr val="001E60"/>
                </a:solidFill>
                <a:latin typeface="+mj-lt"/>
              </a:defRPr>
            </a:lvl1pPr>
            <a:lvl2pPr marL="457206" indent="0">
              <a:spcBef>
                <a:spcPts val="601"/>
              </a:spcBef>
              <a:spcAft>
                <a:spcPts val="601"/>
              </a:spcAft>
              <a:buNone/>
              <a:defRPr sz="1801">
                <a:solidFill>
                  <a:srgbClr val="001E60"/>
                </a:solidFill>
                <a:latin typeface="+mj-lt"/>
              </a:defRPr>
            </a:lvl2pPr>
            <a:lvl3pPr marL="914411" indent="0">
              <a:spcBef>
                <a:spcPts val="601"/>
              </a:spcBef>
              <a:spcAft>
                <a:spcPts val="601"/>
              </a:spcAft>
              <a:buNone/>
              <a:defRPr sz="1801">
                <a:solidFill>
                  <a:srgbClr val="001E60"/>
                </a:solidFill>
                <a:latin typeface="+mj-lt"/>
              </a:defRPr>
            </a:lvl3pPr>
            <a:lvl4pPr marL="1371617" indent="0">
              <a:spcBef>
                <a:spcPts val="601"/>
              </a:spcBef>
              <a:spcAft>
                <a:spcPts val="601"/>
              </a:spcAft>
              <a:buNone/>
              <a:defRPr sz="1801">
                <a:solidFill>
                  <a:srgbClr val="001E60"/>
                </a:solidFill>
                <a:latin typeface="+mj-lt"/>
              </a:defRPr>
            </a:lvl4pPr>
            <a:lvl5pPr marL="1828823" indent="0">
              <a:spcBef>
                <a:spcPts val="601"/>
              </a:spcBef>
              <a:spcAft>
                <a:spcPts val="601"/>
              </a:spcAft>
              <a:buNone/>
              <a:defRPr sz="1801">
                <a:solidFill>
                  <a:srgbClr val="001E60"/>
                </a:solidFill>
                <a:latin typeface="+mj-lt"/>
              </a:defRPr>
            </a:lvl5pPr>
          </a:lstStyle>
          <a:p>
            <a:pPr lvl="0"/>
            <a:r>
              <a:rPr lang="it-IT"/>
              <a:t>Fare clic per modificare gli stili del testo dello schema</a:t>
            </a:r>
          </a:p>
        </p:txBody>
      </p:sp>
    </p:spTree>
    <p:extLst>
      <p:ext uri="{BB962C8B-B14F-4D97-AF65-F5344CB8AC3E}">
        <p14:creationId xmlns:p14="http://schemas.microsoft.com/office/powerpoint/2010/main" val="112522560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olo e contenuto">
    <p:spTree>
      <p:nvGrpSpPr>
        <p:cNvPr id="1" name=""/>
        <p:cNvGrpSpPr/>
        <p:nvPr/>
      </p:nvGrpSpPr>
      <p:grpSpPr>
        <a:xfrm>
          <a:off x="0" y="0"/>
          <a:ext cx="0" cy="0"/>
          <a:chOff x="0" y="0"/>
          <a:chExt cx="0" cy="0"/>
        </a:xfrm>
      </p:grpSpPr>
      <p:sp>
        <p:nvSpPr>
          <p:cNvPr id="6" name="Segnaposto numero diapositiva 5">
            <a:extLst>
              <a:ext uri="{FF2B5EF4-FFF2-40B4-BE49-F238E27FC236}">
                <a16:creationId xmlns:a16="http://schemas.microsoft.com/office/drawing/2014/main" id="{F36F2BC8-62C3-4F24-BB42-59F276552CEA}"/>
              </a:ext>
            </a:extLst>
          </p:cNvPr>
          <p:cNvSpPr>
            <a:spLocks noGrp="1"/>
          </p:cNvSpPr>
          <p:nvPr>
            <p:ph type="sldNum" sz="quarter" idx="12"/>
          </p:nvPr>
        </p:nvSpPr>
        <p:spPr/>
        <p:txBody>
          <a:bodyPr/>
          <a:lstStyle/>
          <a:p>
            <a:fld id="{093042CA-34C0-4A72-BC0B-573E3CBB6EF3}" type="slidenum">
              <a:rPr lang="it-IT" smtClean="0"/>
              <a:t>‹N›</a:t>
            </a:fld>
            <a:endParaRPr lang="it-IT"/>
          </a:p>
        </p:txBody>
      </p:sp>
      <p:sp>
        <p:nvSpPr>
          <p:cNvPr id="2" name="Titolo 1">
            <a:extLst>
              <a:ext uri="{FF2B5EF4-FFF2-40B4-BE49-F238E27FC236}">
                <a16:creationId xmlns:a16="http://schemas.microsoft.com/office/drawing/2014/main" id="{2EAA1E96-3ACD-440D-A18C-A09482691A3D}"/>
              </a:ext>
            </a:extLst>
          </p:cNvPr>
          <p:cNvSpPr>
            <a:spLocks noGrp="1"/>
          </p:cNvSpPr>
          <p:nvPr>
            <p:ph type="title"/>
          </p:nvPr>
        </p:nvSpPr>
        <p:spPr>
          <a:xfrm>
            <a:off x="336000" y="171162"/>
            <a:ext cx="11520000" cy="817129"/>
          </a:xfrm>
        </p:spPr>
        <p:txBody>
          <a:bodyPr anchor="ctr">
            <a:normAutofit/>
          </a:bodyPr>
          <a:lstStyle>
            <a:lvl1pPr>
              <a:defRPr sz="2201"/>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AC45BD15-6777-4476-8C91-F44A75D13201}"/>
              </a:ext>
            </a:extLst>
          </p:cNvPr>
          <p:cNvSpPr>
            <a:spLocks noGrp="1"/>
          </p:cNvSpPr>
          <p:nvPr>
            <p:ph idx="1"/>
          </p:nvPr>
        </p:nvSpPr>
        <p:spPr>
          <a:xfrm>
            <a:off x="336000" y="1265385"/>
            <a:ext cx="11520000" cy="4819218"/>
          </a:xfrm>
        </p:spPr>
        <p:txBody>
          <a:bodyPr>
            <a:noAutofit/>
          </a:bodyPr>
          <a:lstStyle>
            <a:lvl1pPr>
              <a:defRPr sz="1700">
                <a:latin typeface="Arial Nova Cond" panose="020B0506020202020204" pitchFamily="34" charset="0"/>
              </a:defRPr>
            </a:lvl1pPr>
            <a:lvl2pPr>
              <a:defRPr sz="1700">
                <a:latin typeface="Arial Nova Cond" panose="020B0506020202020204" pitchFamily="34" charset="0"/>
              </a:defRPr>
            </a:lvl2pPr>
            <a:lvl3pPr>
              <a:defRPr sz="1700">
                <a:latin typeface="Arial Nova Cond" panose="020B0506020202020204" pitchFamily="34" charset="0"/>
              </a:defRPr>
            </a:lvl3pPr>
            <a:lvl4pPr>
              <a:defRPr sz="1700">
                <a:latin typeface="Arial Nova Cond" panose="020B0506020202020204" pitchFamily="34" charset="0"/>
              </a:defRPr>
            </a:lvl4pPr>
            <a:lvl5pPr>
              <a:defRPr sz="1700">
                <a:latin typeface="Arial Nova Cond" panose="020B0506020202020204" pitchFamily="34"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46888935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BASE">
    <p:spTree>
      <p:nvGrpSpPr>
        <p:cNvPr id="1" name=""/>
        <p:cNvGrpSpPr/>
        <p:nvPr/>
      </p:nvGrpSpPr>
      <p:grpSpPr>
        <a:xfrm>
          <a:off x="0" y="0"/>
          <a:ext cx="0" cy="0"/>
          <a:chOff x="0" y="0"/>
          <a:chExt cx="0" cy="0"/>
        </a:xfrm>
      </p:grpSpPr>
      <p:pic>
        <p:nvPicPr>
          <p:cNvPr id="60" name="Immagine" descr="Immagine"/>
          <p:cNvPicPr>
            <a:picLocks noChangeAspect="1"/>
          </p:cNvPicPr>
          <p:nvPr/>
        </p:nvPicPr>
        <p:blipFill>
          <a:blip r:embed="rId2"/>
          <a:stretch>
            <a:fillRect/>
          </a:stretch>
        </p:blipFill>
        <p:spPr>
          <a:xfrm>
            <a:off x="454617" y="437911"/>
            <a:ext cx="1150610" cy="1095221"/>
          </a:xfrm>
          <a:prstGeom prst="rect">
            <a:avLst/>
          </a:prstGeom>
          <a:ln w="12700">
            <a:miter lim="400000"/>
          </a:ln>
        </p:spPr>
      </p:pic>
      <p:pic>
        <p:nvPicPr>
          <p:cNvPr id="66" name="Immagine" descr="Immagine"/>
          <p:cNvPicPr>
            <a:picLocks noChangeAspect="1"/>
          </p:cNvPicPr>
          <p:nvPr/>
        </p:nvPicPr>
        <p:blipFill>
          <a:blip r:embed="rId3"/>
          <a:stretch>
            <a:fillRect/>
          </a:stretch>
        </p:blipFill>
        <p:spPr>
          <a:xfrm>
            <a:off x="11228601" y="663500"/>
            <a:ext cx="453728" cy="711779"/>
          </a:xfrm>
          <a:prstGeom prst="rect">
            <a:avLst/>
          </a:prstGeom>
          <a:ln w="12700">
            <a:miter lim="400000"/>
          </a:ln>
        </p:spPr>
      </p:pic>
      <p:sp>
        <p:nvSpPr>
          <p:cNvPr id="68" name="Titolo Testo"/>
          <p:cNvSpPr txBox="1">
            <a:spLocks noGrp="1"/>
          </p:cNvSpPr>
          <p:nvPr>
            <p:ph type="title" hasCustomPrompt="1"/>
          </p:nvPr>
        </p:nvSpPr>
        <p:spPr>
          <a:xfrm>
            <a:off x="1852934" y="614856"/>
            <a:ext cx="9375668" cy="470401"/>
          </a:xfrm>
          <a:prstGeom prst="rect">
            <a:avLst/>
          </a:prstGeom>
        </p:spPr>
        <p:txBody>
          <a:bodyPr anchor="t">
            <a:noAutofit/>
          </a:bodyPr>
          <a:lstStyle/>
          <a:p>
            <a:r>
              <a:t>Titolo Testo</a:t>
            </a:r>
          </a:p>
        </p:txBody>
      </p:sp>
      <p:sp>
        <p:nvSpPr>
          <p:cNvPr id="12" name="Google Shape;35;p5"/>
          <p:cNvSpPr/>
          <p:nvPr userDrawn="1"/>
        </p:nvSpPr>
        <p:spPr>
          <a:xfrm>
            <a:off x="-5644" y="6165977"/>
            <a:ext cx="11695598" cy="711780"/>
          </a:xfrm>
          <a:prstGeom prst="rect">
            <a:avLst/>
          </a:prstGeom>
          <a:solidFill>
            <a:srgbClr val="3F847E"/>
          </a:solidFill>
          <a:ln>
            <a:noFill/>
          </a:ln>
        </p:spPr>
        <p:txBody>
          <a:bodyPr spcFirstLastPara="1" wrap="square" lIns="60933" tIns="60933" rIns="60933" bIns="60933" anchor="ctr" anchorCtr="0">
            <a:noAutofit/>
          </a:bodyPr>
          <a:lstStyle/>
          <a:p>
            <a:pPr marL="0" marR="0" lvl="0" indent="0" algn="l" rtl="0">
              <a:lnSpc>
                <a:spcPct val="100000"/>
              </a:lnSpc>
              <a:spcBef>
                <a:spcPts val="0"/>
              </a:spcBef>
              <a:spcAft>
                <a:spcPts val="0"/>
              </a:spcAft>
              <a:buClr>
                <a:srgbClr val="0F3250"/>
              </a:buClr>
              <a:buSzPts val="1800"/>
              <a:buFont typeface="Calibri"/>
              <a:buNone/>
            </a:pPr>
            <a:endParaRPr sz="2400" b="0" i="0" u="none" strike="noStrike" cap="none">
              <a:solidFill>
                <a:srgbClr val="0F3250"/>
              </a:solidFill>
              <a:latin typeface="Calibri"/>
              <a:ea typeface="Calibri"/>
              <a:cs typeface="Calibri"/>
              <a:sym typeface="Calibri"/>
            </a:endParaRPr>
          </a:p>
        </p:txBody>
      </p:sp>
      <p:pic>
        <p:nvPicPr>
          <p:cNvPr id="13" name="Google Shape;40;p5" descr="Immagine"/>
          <p:cNvPicPr preferRelativeResize="0"/>
          <p:nvPr userDrawn="1"/>
        </p:nvPicPr>
        <p:blipFill rotWithShape="1">
          <a:blip r:embed="rId4">
            <a:alphaModFix/>
          </a:blip>
          <a:srcRect/>
          <a:stretch/>
        </p:blipFill>
        <p:spPr>
          <a:xfrm>
            <a:off x="9995553" y="6217100"/>
            <a:ext cx="1582996" cy="609533"/>
          </a:xfrm>
          <a:prstGeom prst="rect">
            <a:avLst/>
          </a:prstGeom>
          <a:noFill/>
          <a:ln>
            <a:noFill/>
          </a:ln>
        </p:spPr>
      </p:pic>
      <p:sp>
        <p:nvSpPr>
          <p:cNvPr id="15" name="Google Shape;41;p5">
            <a:extLst>
              <a:ext uri="{FF2B5EF4-FFF2-40B4-BE49-F238E27FC236}">
                <a16:creationId xmlns:a16="http://schemas.microsoft.com/office/drawing/2014/main" id="{BB5AFC65-E778-48CE-9D6D-3C6012A0DB4F}"/>
              </a:ext>
            </a:extLst>
          </p:cNvPr>
          <p:cNvSpPr txBox="1">
            <a:spLocks/>
          </p:cNvSpPr>
          <p:nvPr userDrawn="1"/>
        </p:nvSpPr>
        <p:spPr>
          <a:xfrm>
            <a:off x="881476" y="6164916"/>
            <a:ext cx="459644" cy="357805"/>
          </a:xfrm>
          <a:prstGeom prst="rect">
            <a:avLst/>
          </a:prstGeom>
          <a:noFill/>
          <a:ln w="12700">
            <a:noFill/>
            <a:miter lim="400000"/>
          </a:ln>
        </p:spPr>
        <p:txBody>
          <a:bodyPr spcFirstLastPara="1" wrap="square" lIns="60933" tIns="60933" rIns="60933" bIns="60933" anchor="ctr"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lvl="0"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1pPr>
            <a:lvl2pPr marL="0" marR="0" lvl="1"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2pPr>
            <a:lvl3pPr marL="0" marR="0" lvl="2"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3pPr>
            <a:lvl4pPr marL="0" marR="0" lvl="3"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4pPr>
            <a:lvl5pPr marL="0" marR="0" lvl="4"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5pPr>
            <a:lvl6pPr marL="0" marR="0" lvl="5"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6pPr>
            <a:lvl7pPr marL="0" marR="0" lvl="6"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7pPr>
            <a:lvl8pPr marL="0" marR="0" lvl="7"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8pPr>
            <a:lvl9pPr marL="0" marR="0" lvl="8"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9pPr>
          </a:lstStyle>
          <a:p>
            <a:fld id="{00000000-1234-1234-1234-123412341234}" type="slidenum">
              <a:rPr lang="en-US" sz="1200" b="0" smtClean="0"/>
              <a:pPr/>
              <a:t>‹N›</a:t>
            </a:fld>
            <a:endParaRPr lang="en-US" sz="1200" b="0"/>
          </a:p>
        </p:txBody>
      </p:sp>
    </p:spTree>
    <p:extLst>
      <p:ext uri="{BB962C8B-B14F-4D97-AF65-F5344CB8AC3E}">
        <p14:creationId xmlns:p14="http://schemas.microsoft.com/office/powerpoint/2010/main" val="2085145052"/>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Bullet ITA">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6261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5" name="Segnaposto testo 5">
            <a:extLst>
              <a:ext uri="{FF2B5EF4-FFF2-40B4-BE49-F238E27FC236}">
                <a16:creationId xmlns:a16="http://schemas.microsoft.com/office/drawing/2014/main" id="{004B5E75-9EA3-4549-AEDA-BA091BFEA31B}"/>
              </a:ext>
            </a:extLst>
          </p:cNvPr>
          <p:cNvSpPr>
            <a:spLocks noGrp="1"/>
          </p:cNvSpPr>
          <p:nvPr>
            <p:ph type="body" sz="quarter" idx="10"/>
          </p:nvPr>
        </p:nvSpPr>
        <p:spPr>
          <a:xfrm>
            <a:off x="2206693" y="6311555"/>
            <a:ext cx="8488363" cy="277812"/>
          </a:xfrm>
          <a:prstGeom prst="rect">
            <a:avLst/>
          </a:prstGeom>
        </p:spPr>
        <p:txBody>
          <a:bodyPr/>
          <a:lstStyle>
            <a:lvl1pPr marL="0" indent="0">
              <a:buNone/>
              <a:defRPr sz="1200">
                <a:solidFill>
                  <a:schemeClr val="bg1">
                    <a:lumMod val="50000"/>
                  </a:schemeClr>
                </a:solidFill>
              </a:defRPr>
            </a:lvl1pPr>
          </a:lstStyle>
          <a:p>
            <a:pPr lvl="0"/>
            <a:endParaRPr lang="en-US"/>
          </a:p>
        </p:txBody>
      </p:sp>
      <p:sp>
        <p:nvSpPr>
          <p:cNvPr id="6" name="Segnaposto contenuto 5">
            <a:extLst>
              <a:ext uri="{FF2B5EF4-FFF2-40B4-BE49-F238E27FC236}">
                <a16:creationId xmlns:a16="http://schemas.microsoft.com/office/drawing/2014/main" id="{2997CE74-FC52-42EC-BC36-AA81E2E2126A}"/>
              </a:ext>
            </a:extLst>
          </p:cNvPr>
          <p:cNvSpPr>
            <a:spLocks noGrp="1"/>
          </p:cNvSpPr>
          <p:nvPr>
            <p:ph sz="quarter" idx="11"/>
          </p:nvPr>
        </p:nvSpPr>
        <p:spPr>
          <a:xfrm>
            <a:off x="403227" y="1083366"/>
            <a:ext cx="11384494" cy="4780723"/>
          </a:xfrm>
          <a:prstGeom prst="rect">
            <a:avLst/>
          </a:prstGeom>
        </p:spPr>
        <p:txBody>
          <a:bodyPr/>
          <a:lstStyle>
            <a:lvl1pPr marL="357192" indent="-357192">
              <a:buClr>
                <a:srgbClr val="F47B20"/>
              </a:buClr>
              <a:buFont typeface="Wingdings" panose="05000000000000000000" pitchFamily="2" charset="2"/>
              <a:buChar char="§"/>
              <a:defRPr sz="1801">
                <a:solidFill>
                  <a:srgbClr val="001E60"/>
                </a:solidFill>
              </a:defRPr>
            </a:lvl1pPr>
            <a:lvl2pPr marL="715972" indent="-358780">
              <a:buClr>
                <a:srgbClr val="F47B20"/>
              </a:buClr>
              <a:buSzPct val="50000"/>
              <a:buFont typeface="Wingdings" panose="05000000000000000000" pitchFamily="2" charset="2"/>
              <a:buChar char="q"/>
              <a:defRPr sz="1801">
                <a:solidFill>
                  <a:srgbClr val="001E60"/>
                </a:solidFill>
              </a:defRPr>
            </a:lvl2pPr>
            <a:lvl3pPr marL="1073164" indent="-357192">
              <a:buClr>
                <a:srgbClr val="F47B20"/>
              </a:buClr>
              <a:defRPr sz="1801">
                <a:solidFill>
                  <a:srgbClr val="001E60"/>
                </a:solidFill>
              </a:defRPr>
            </a:lvl3pPr>
            <a:lvl4pPr marL="1431943" indent="-358780">
              <a:buClr>
                <a:srgbClr val="F47B20"/>
              </a:buClr>
              <a:buSzPct val="70000"/>
              <a:buFont typeface="Courier New" panose="02070309020205020404" pitchFamily="49" charset="0"/>
              <a:buChar char="o"/>
              <a:defRPr sz="1801">
                <a:solidFill>
                  <a:srgbClr val="001E60"/>
                </a:solidFill>
              </a:defRPr>
            </a:lvl4pPr>
            <a:lvl5pPr marL="1789135" indent="-357192">
              <a:buClr>
                <a:srgbClr val="F47B20"/>
              </a:buClr>
              <a:defRPr sz="1801">
                <a:solidFill>
                  <a:srgbClr val="001E60"/>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Tree>
    <p:extLst>
      <p:ext uri="{BB962C8B-B14F-4D97-AF65-F5344CB8AC3E}">
        <p14:creationId xmlns:p14="http://schemas.microsoft.com/office/powerpoint/2010/main" val="137236264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3_Diapositiva Titolo">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1" name="CasellaDiTesto 10">
            <a:extLst>
              <a:ext uri="{FF2B5EF4-FFF2-40B4-BE49-F238E27FC236}">
                <a16:creationId xmlns:a16="http://schemas.microsoft.com/office/drawing/2014/main" id="{2D942B9A-A55E-4682-A543-6D063B114899}"/>
              </a:ext>
            </a:extLst>
          </p:cNvPr>
          <p:cNvSpPr txBox="1"/>
          <p:nvPr userDrawn="1"/>
        </p:nvSpPr>
        <p:spPr>
          <a:xfrm>
            <a:off x="5399122" y="500479"/>
            <a:ext cx="6337198" cy="276999"/>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1E60"/>
                </a:solidFill>
                <a:effectLst/>
                <a:uLnTx/>
                <a:uFillTx/>
                <a:latin typeface="Source Sans Pro"/>
                <a:ea typeface="Source Sans Pro SemiBold" panose="020B0603030403020204" pitchFamily="34" charset="0"/>
                <a:cs typeface="+mn-cs"/>
              </a:rPr>
              <a:t>THINK TANK  |  MANAGEMENT CONSULTING  |  LEADERS’ EDUCATION  |  SUMMIT</a:t>
            </a:r>
          </a:p>
        </p:txBody>
      </p:sp>
      <p:sp>
        <p:nvSpPr>
          <p:cNvPr id="12" name="CasellaDiTesto 11">
            <a:extLst>
              <a:ext uri="{FF2B5EF4-FFF2-40B4-BE49-F238E27FC236}">
                <a16:creationId xmlns:a16="http://schemas.microsoft.com/office/drawing/2014/main" id="{23C36DDE-09C7-41CB-9CBE-B45153495ED5}"/>
              </a:ext>
            </a:extLst>
          </p:cNvPr>
          <p:cNvSpPr txBox="1"/>
          <p:nvPr userDrawn="1"/>
        </p:nvSpPr>
        <p:spPr>
          <a:xfrm>
            <a:off x="240886" y="6474566"/>
            <a:ext cx="1479644" cy="200055"/>
          </a:xfrm>
          <a:prstGeom prst="rect">
            <a:avLst/>
          </a:prstGeom>
          <a:solidFill>
            <a:schemeClr val="bg1"/>
          </a:solid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2025 Tutti i diritti riservati</a:t>
            </a: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pic>
        <p:nvPicPr>
          <p:cNvPr id="3" name="Immagine 2" descr="Immagine che contiene testo, Carattere, schermata, Elementi grafici&#10;&#10;Descrizione generata automaticamente">
            <a:extLst>
              <a:ext uri="{FF2B5EF4-FFF2-40B4-BE49-F238E27FC236}">
                <a16:creationId xmlns:a16="http://schemas.microsoft.com/office/drawing/2014/main" id="{470F3811-501E-367B-D1CE-79BD051BB1E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253" y="457078"/>
            <a:ext cx="2025541" cy="320400"/>
          </a:xfrm>
          <a:prstGeom prst="rect">
            <a:avLst/>
          </a:prstGeom>
        </p:spPr>
      </p:pic>
      <p:sp>
        <p:nvSpPr>
          <p:cNvPr id="22" name="CasellaDiTesto 21">
            <a:extLst>
              <a:ext uri="{FF2B5EF4-FFF2-40B4-BE49-F238E27FC236}">
                <a16:creationId xmlns:a16="http://schemas.microsoft.com/office/drawing/2014/main" id="{CD174A84-4DE6-6732-6181-3BA30FCEE9F7}"/>
              </a:ext>
            </a:extLst>
          </p:cNvPr>
          <p:cNvSpPr txBox="1"/>
          <p:nvPr userDrawn="1"/>
        </p:nvSpPr>
        <p:spPr>
          <a:xfrm>
            <a:off x="8067060" y="6411889"/>
            <a:ext cx="2953108" cy="230832"/>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1E60"/>
                </a:solidFill>
                <a:effectLst/>
                <a:uLnTx/>
                <a:uFillTx/>
                <a:latin typeface="Source Sans Pro" panose="020B0503030403020204" pitchFamily="34" charset="0"/>
                <a:ea typeface="Source Sans Pro" panose="020B0503030403020204" pitchFamily="34" charset="0"/>
                <a:cs typeface="+mn-cs"/>
              </a:rPr>
              <a:t>Non c’è vento a favore per chi non conosce il porto</a:t>
            </a:r>
          </a:p>
        </p:txBody>
      </p:sp>
    </p:spTree>
    <p:extLst>
      <p:ext uri="{BB962C8B-B14F-4D97-AF65-F5344CB8AC3E}">
        <p14:creationId xmlns:p14="http://schemas.microsoft.com/office/powerpoint/2010/main" val="390160417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pertina ITA">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0" name="CasellaDiTesto 9">
            <a:extLst>
              <a:ext uri="{FF2B5EF4-FFF2-40B4-BE49-F238E27FC236}">
                <a16:creationId xmlns:a16="http://schemas.microsoft.com/office/drawing/2014/main" id="{E48C28C1-455E-4BEB-AA3B-64852673EE1D}"/>
              </a:ext>
            </a:extLst>
          </p:cNvPr>
          <p:cNvSpPr txBox="1"/>
          <p:nvPr userDrawn="1"/>
        </p:nvSpPr>
        <p:spPr>
          <a:xfrm>
            <a:off x="7108372" y="6436915"/>
            <a:ext cx="3922681" cy="230832"/>
          </a:xfrm>
          <a:prstGeom prst="rect">
            <a:avLst/>
          </a:prstGeom>
          <a:noFill/>
        </p:spPr>
        <p:txBody>
          <a:bodyPr wrap="square" rtlCol="0">
            <a:spAutoFit/>
          </a:bodyPr>
          <a:lstStyle/>
          <a:p>
            <a:pPr algn="r"/>
            <a:r>
              <a:rPr lang="it-IT" sz="900">
                <a:solidFill>
                  <a:srgbClr val="001E60"/>
                </a:solidFill>
                <a:latin typeface="Source Sans Pro SemiBold" panose="020B0603030403020204" pitchFamily="34" charset="0"/>
                <a:ea typeface="Source Sans Pro SemiBold" panose="020B0603030403020204" pitchFamily="34" charset="0"/>
              </a:rPr>
              <a:t>Non c’è vento a favore per chi non conosce il porto</a:t>
            </a:r>
          </a:p>
        </p:txBody>
      </p:sp>
      <p:sp>
        <p:nvSpPr>
          <p:cNvPr id="11" name="CasellaDiTesto 10">
            <a:extLst>
              <a:ext uri="{FF2B5EF4-FFF2-40B4-BE49-F238E27FC236}">
                <a16:creationId xmlns:a16="http://schemas.microsoft.com/office/drawing/2014/main" id="{2D942B9A-A55E-4682-A543-6D063B114899}"/>
              </a:ext>
            </a:extLst>
          </p:cNvPr>
          <p:cNvSpPr txBox="1"/>
          <p:nvPr userDrawn="1"/>
        </p:nvSpPr>
        <p:spPr>
          <a:xfrm>
            <a:off x="5399122" y="500479"/>
            <a:ext cx="6337198" cy="276999"/>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1E60"/>
                </a:solidFill>
                <a:effectLst/>
                <a:uLnTx/>
                <a:uFillTx/>
                <a:latin typeface="Source Sans Pro"/>
                <a:ea typeface="Source Sans Pro SemiBold" panose="020B0603030403020204" pitchFamily="34" charset="0"/>
                <a:cs typeface="+mn-cs"/>
              </a:rPr>
              <a:t>THINK TANK  |  MANAGEMENT CONSULTING  |  LEADERS’ EDUCATION  |  SUMMIT</a:t>
            </a:r>
          </a:p>
        </p:txBody>
      </p:sp>
      <p:sp>
        <p:nvSpPr>
          <p:cNvPr id="12" name="CasellaDiTesto 11">
            <a:extLst>
              <a:ext uri="{FF2B5EF4-FFF2-40B4-BE49-F238E27FC236}">
                <a16:creationId xmlns:a16="http://schemas.microsoft.com/office/drawing/2014/main" id="{23C36DDE-09C7-41CB-9CBE-B45153495ED5}"/>
              </a:ext>
            </a:extLst>
          </p:cNvPr>
          <p:cNvSpPr txBox="1"/>
          <p:nvPr userDrawn="1"/>
        </p:nvSpPr>
        <p:spPr>
          <a:xfrm>
            <a:off x="240886" y="6474566"/>
            <a:ext cx="1479644" cy="200055"/>
          </a:xfrm>
          <a:prstGeom prst="rect">
            <a:avLst/>
          </a:prstGeom>
          <a:solidFill>
            <a:schemeClr val="bg1"/>
          </a:solid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2021 Tutti i diritti riservati</a:t>
            </a:r>
          </a:p>
        </p:txBody>
      </p:sp>
      <p:pic>
        <p:nvPicPr>
          <p:cNvPr id="14" name="Immagine 13">
            <a:extLst>
              <a:ext uri="{FF2B5EF4-FFF2-40B4-BE49-F238E27FC236}">
                <a16:creationId xmlns:a16="http://schemas.microsoft.com/office/drawing/2014/main" id="{119B2E5F-B3AB-4C64-9217-650FE577EDC4}"/>
              </a:ext>
            </a:extLst>
          </p:cNvPr>
          <p:cNvPicPr>
            <a:picLocks noChangeAspect="1"/>
          </p:cNvPicPr>
          <p:nvPr userDrawn="1"/>
        </p:nvPicPr>
        <p:blipFill>
          <a:blip r:embed="rId2"/>
          <a:stretch>
            <a:fillRect/>
          </a:stretch>
        </p:blipFill>
        <p:spPr>
          <a:xfrm>
            <a:off x="567211" y="456098"/>
            <a:ext cx="1801372" cy="365761"/>
          </a:xfrm>
          <a:prstGeom prst="rect">
            <a:avLst/>
          </a:prstGeom>
        </p:spPr>
      </p:pic>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sp>
        <p:nvSpPr>
          <p:cNvPr id="6" name="Segnaposto testo 5">
            <a:extLst>
              <a:ext uri="{FF2B5EF4-FFF2-40B4-BE49-F238E27FC236}">
                <a16:creationId xmlns:a16="http://schemas.microsoft.com/office/drawing/2014/main" id="{EF52FC51-0662-4EDC-B14C-1634434B37E8}"/>
              </a:ext>
            </a:extLst>
          </p:cNvPr>
          <p:cNvSpPr>
            <a:spLocks noGrp="1"/>
          </p:cNvSpPr>
          <p:nvPr>
            <p:ph type="body" sz="quarter" idx="10"/>
          </p:nvPr>
        </p:nvSpPr>
        <p:spPr>
          <a:xfrm>
            <a:off x="566738" y="1968501"/>
            <a:ext cx="7295115" cy="1082813"/>
          </a:xfrm>
          <a:prstGeom prst="rect">
            <a:avLst/>
          </a:prstGeom>
        </p:spPr>
        <p:txBody>
          <a:bodyPr/>
          <a:lstStyle>
            <a:lvl1pPr marL="0" indent="0">
              <a:spcAft>
                <a:spcPts val="1001"/>
              </a:spcAft>
              <a:buNone/>
              <a:defRPr sz="3600">
                <a:solidFill>
                  <a:srgbClr val="F47B20"/>
                </a:solidFill>
                <a:latin typeface="Source Sans Pro SemiBold" panose="020B0603030403020204" pitchFamily="34" charset="0"/>
                <a:ea typeface="Source Sans Pro SemiBold" panose="020B0603030403020204" pitchFamily="34" charset="0"/>
              </a:defRPr>
            </a:lvl1pPr>
            <a:lvl2pPr>
              <a:defRPr>
                <a:solidFill>
                  <a:srgbClr val="F47B20"/>
                </a:solidFill>
              </a:defRPr>
            </a:lvl2pPr>
            <a:lvl3pPr>
              <a:defRPr>
                <a:solidFill>
                  <a:srgbClr val="F47B20"/>
                </a:solidFill>
              </a:defRPr>
            </a:lvl3pPr>
            <a:lvl4pPr>
              <a:defRPr>
                <a:solidFill>
                  <a:srgbClr val="F47B20"/>
                </a:solidFill>
              </a:defRPr>
            </a:lvl4pPr>
            <a:lvl5pPr>
              <a:defRPr>
                <a:solidFill>
                  <a:srgbClr val="F47B20"/>
                </a:solidFill>
              </a:defRPr>
            </a:lvl5pPr>
          </a:lstStyle>
          <a:p>
            <a:pPr lvl="0"/>
            <a:r>
              <a:rPr lang="it-IT"/>
              <a:t>Fare clic per modificare gli stili del testo dello schema</a:t>
            </a:r>
          </a:p>
        </p:txBody>
      </p:sp>
      <p:sp>
        <p:nvSpPr>
          <p:cNvPr id="8" name="Segnaposto testo 7">
            <a:extLst>
              <a:ext uri="{FF2B5EF4-FFF2-40B4-BE49-F238E27FC236}">
                <a16:creationId xmlns:a16="http://schemas.microsoft.com/office/drawing/2014/main" id="{D6EB0F33-CCF1-46FD-B414-D857213FC7A2}"/>
              </a:ext>
            </a:extLst>
          </p:cNvPr>
          <p:cNvSpPr>
            <a:spLocks noGrp="1"/>
          </p:cNvSpPr>
          <p:nvPr>
            <p:ph type="body" sz="quarter" idx="11"/>
          </p:nvPr>
        </p:nvSpPr>
        <p:spPr>
          <a:xfrm>
            <a:off x="566738" y="3279776"/>
            <a:ext cx="7295115" cy="715963"/>
          </a:xfrm>
          <a:prstGeom prst="rect">
            <a:avLst/>
          </a:prstGeom>
        </p:spPr>
        <p:txBody>
          <a:bodyPr/>
          <a:lstStyle>
            <a:lvl1pPr marL="0" indent="0">
              <a:spcBef>
                <a:spcPts val="1200"/>
              </a:spcBef>
              <a:spcAft>
                <a:spcPts val="1200"/>
              </a:spcAft>
              <a:buNone/>
              <a:defRPr sz="1801">
                <a:solidFill>
                  <a:srgbClr val="001E60"/>
                </a:solidFill>
                <a:latin typeface="+mj-lt"/>
              </a:defRPr>
            </a:lvl1pPr>
            <a:lvl2pPr marL="457206" indent="0">
              <a:spcBef>
                <a:spcPts val="601"/>
              </a:spcBef>
              <a:spcAft>
                <a:spcPts val="601"/>
              </a:spcAft>
              <a:buNone/>
              <a:defRPr sz="1801">
                <a:solidFill>
                  <a:srgbClr val="001E60"/>
                </a:solidFill>
                <a:latin typeface="+mj-lt"/>
              </a:defRPr>
            </a:lvl2pPr>
            <a:lvl3pPr marL="914411" indent="0">
              <a:spcBef>
                <a:spcPts val="601"/>
              </a:spcBef>
              <a:spcAft>
                <a:spcPts val="601"/>
              </a:spcAft>
              <a:buNone/>
              <a:defRPr sz="1801">
                <a:solidFill>
                  <a:srgbClr val="001E60"/>
                </a:solidFill>
                <a:latin typeface="+mj-lt"/>
              </a:defRPr>
            </a:lvl3pPr>
            <a:lvl4pPr marL="1371617" indent="0">
              <a:spcBef>
                <a:spcPts val="601"/>
              </a:spcBef>
              <a:spcAft>
                <a:spcPts val="601"/>
              </a:spcAft>
              <a:buNone/>
              <a:defRPr sz="1801">
                <a:solidFill>
                  <a:srgbClr val="001E60"/>
                </a:solidFill>
                <a:latin typeface="+mj-lt"/>
              </a:defRPr>
            </a:lvl4pPr>
            <a:lvl5pPr marL="1828823" indent="0">
              <a:spcBef>
                <a:spcPts val="601"/>
              </a:spcBef>
              <a:spcAft>
                <a:spcPts val="601"/>
              </a:spcAft>
              <a:buNone/>
              <a:defRPr sz="1801">
                <a:solidFill>
                  <a:srgbClr val="001E60"/>
                </a:solidFill>
                <a:latin typeface="+mj-lt"/>
              </a:defRPr>
            </a:lvl5pPr>
          </a:lstStyle>
          <a:p>
            <a:pPr lvl="0"/>
            <a:r>
              <a:rPr lang="it-IT"/>
              <a:t>Fare clic per modificare gli stili del testo dello schema</a:t>
            </a:r>
          </a:p>
        </p:txBody>
      </p:sp>
    </p:spTree>
    <p:extLst>
      <p:ext uri="{BB962C8B-B14F-4D97-AF65-F5344CB8AC3E}">
        <p14:creationId xmlns:p14="http://schemas.microsoft.com/office/powerpoint/2010/main" val="66910254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apositiva Titolo">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0" name="CasellaDiTesto 9">
            <a:extLst>
              <a:ext uri="{FF2B5EF4-FFF2-40B4-BE49-F238E27FC236}">
                <a16:creationId xmlns:a16="http://schemas.microsoft.com/office/drawing/2014/main" id="{E48C28C1-455E-4BEB-AA3B-64852673EE1D}"/>
              </a:ext>
            </a:extLst>
          </p:cNvPr>
          <p:cNvSpPr txBox="1"/>
          <p:nvPr userDrawn="1"/>
        </p:nvSpPr>
        <p:spPr>
          <a:xfrm>
            <a:off x="7108372" y="6436915"/>
            <a:ext cx="3922681" cy="230832"/>
          </a:xfrm>
          <a:prstGeom prst="rect">
            <a:avLst/>
          </a:prstGeom>
          <a:noFill/>
        </p:spPr>
        <p:txBody>
          <a:bodyPr wrap="square" rtlCol="0">
            <a:spAutoFit/>
          </a:bodyPr>
          <a:lstStyle/>
          <a:p>
            <a:pPr algn="r"/>
            <a:r>
              <a:rPr lang="en-US" sz="900">
                <a:solidFill>
                  <a:srgbClr val="001E60"/>
                </a:solidFill>
                <a:latin typeface="Source Sans Pro SemiBold" panose="020B0603030403020204" pitchFamily="34" charset="0"/>
                <a:ea typeface="Source Sans Pro SemiBold" panose="020B0603030403020204" pitchFamily="34" charset="0"/>
              </a:rPr>
              <a:t>If a man does not know to which port he is steering, no wind is favorable</a:t>
            </a:r>
          </a:p>
        </p:txBody>
      </p:sp>
      <p:sp>
        <p:nvSpPr>
          <p:cNvPr id="11" name="CasellaDiTesto 10">
            <a:extLst>
              <a:ext uri="{FF2B5EF4-FFF2-40B4-BE49-F238E27FC236}">
                <a16:creationId xmlns:a16="http://schemas.microsoft.com/office/drawing/2014/main" id="{2D942B9A-A55E-4682-A543-6D063B114899}"/>
              </a:ext>
            </a:extLst>
          </p:cNvPr>
          <p:cNvSpPr txBox="1"/>
          <p:nvPr userDrawn="1"/>
        </p:nvSpPr>
        <p:spPr>
          <a:xfrm>
            <a:off x="5399122" y="500479"/>
            <a:ext cx="6337198" cy="276999"/>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1E60"/>
                </a:solidFill>
                <a:effectLst/>
                <a:uLnTx/>
                <a:uFillTx/>
                <a:latin typeface="Source Sans Pro"/>
                <a:ea typeface="Source Sans Pro SemiBold" panose="020B0603030403020204" pitchFamily="34" charset="0"/>
                <a:cs typeface="+mn-cs"/>
              </a:rPr>
              <a:t>THINK TANK  |  MANAGEMENT CONSULTING  |  LEADERS’ EDUCATION  |  SUMMIT</a:t>
            </a:r>
          </a:p>
        </p:txBody>
      </p:sp>
      <p:sp>
        <p:nvSpPr>
          <p:cNvPr id="12" name="CasellaDiTesto 11">
            <a:extLst>
              <a:ext uri="{FF2B5EF4-FFF2-40B4-BE49-F238E27FC236}">
                <a16:creationId xmlns:a16="http://schemas.microsoft.com/office/drawing/2014/main" id="{23C36DDE-09C7-41CB-9CBE-B45153495ED5}"/>
              </a:ext>
            </a:extLst>
          </p:cNvPr>
          <p:cNvSpPr txBox="1"/>
          <p:nvPr userDrawn="1"/>
        </p:nvSpPr>
        <p:spPr>
          <a:xfrm>
            <a:off x="240886" y="6474566"/>
            <a:ext cx="1479644" cy="200055"/>
          </a:xfrm>
          <a:prstGeom prst="rect">
            <a:avLst/>
          </a:prstGeom>
          <a:solidFill>
            <a:schemeClr val="bg1"/>
          </a:solid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2021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All</a:t>
            </a: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rights</a:t>
            </a: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reserved</a:t>
            </a:r>
            <a:endPar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endParaRP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pic>
        <p:nvPicPr>
          <p:cNvPr id="3" name="Picture 2" descr="A logo for a hotel&#10;&#10;Description automatically generated">
            <a:extLst>
              <a:ext uri="{FF2B5EF4-FFF2-40B4-BE49-F238E27FC236}">
                <a16:creationId xmlns:a16="http://schemas.microsoft.com/office/drawing/2014/main" id="{AF1AA52D-1F29-BA58-1F84-7DCA05BA6A2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4930" t="42397" r="9728" b="32135"/>
          <a:stretch/>
        </p:blipFill>
        <p:spPr>
          <a:xfrm>
            <a:off x="487424" y="389698"/>
            <a:ext cx="2466212" cy="496161"/>
          </a:xfrm>
          <a:prstGeom prst="rect">
            <a:avLst/>
          </a:prstGeom>
        </p:spPr>
      </p:pic>
    </p:spTree>
    <p:extLst>
      <p:ext uri="{BB962C8B-B14F-4D97-AF65-F5344CB8AC3E}">
        <p14:creationId xmlns:p14="http://schemas.microsoft.com/office/powerpoint/2010/main" val="40180200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4B0247E-C23A-4A31-B60B-C6B02AC79597}"/>
              </a:ext>
            </a:extLst>
          </p:cNvPr>
          <p:cNvSpPr>
            <a:spLocks noGrp="1"/>
          </p:cNvSpPr>
          <p:nvPr>
            <p:ph type="title"/>
          </p:nvPr>
        </p:nvSpPr>
        <p:spPr>
          <a:xfrm>
            <a:off x="419896" y="332656"/>
            <a:ext cx="11352212" cy="576263"/>
          </a:xfrm>
          <a:prstGeom prst="rect">
            <a:avLst/>
          </a:prstGeom>
        </p:spPr>
        <p:txBody>
          <a:bodyPr/>
          <a:lstStyle>
            <a:lvl1pPr>
              <a:defRPr sz="3200">
                <a:solidFill>
                  <a:srgbClr val="F47B20"/>
                </a:solidFill>
                <a:latin typeface="Source Sans Pro SemiBold" panose="020B0603030403020204" pitchFamily="34" charset="0"/>
                <a:ea typeface="Source Sans Pro SemiBold" panose="020B0603030403020204" pitchFamily="34" charset="0"/>
              </a:defRPr>
            </a:lvl1pPr>
          </a:lstStyle>
          <a:p>
            <a:r>
              <a:rPr lang="it-IT"/>
              <a:t>Fare clic per modificare lo stile del titolo dello schema</a:t>
            </a:r>
          </a:p>
        </p:txBody>
      </p:sp>
    </p:spTree>
    <p:extLst>
      <p:ext uri="{BB962C8B-B14F-4D97-AF65-F5344CB8AC3E}">
        <p14:creationId xmlns:p14="http://schemas.microsoft.com/office/powerpoint/2010/main" val="23726549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olo 2 righ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19896" y="260649"/>
            <a:ext cx="11352212" cy="576263"/>
          </a:xfrm>
          <a:prstGeom prst="rect">
            <a:avLst/>
          </a:prstGeom>
        </p:spPr>
        <p:txBody>
          <a:bodyPr/>
          <a:lstStyle>
            <a:lvl1pPr>
              <a:defRPr sz="2800">
                <a:solidFill>
                  <a:srgbClr val="F47B20"/>
                </a:solidFill>
                <a:latin typeface="Source Sans Pro SemiBold" panose="020B0603030403020204" pitchFamily="34" charset="0"/>
                <a:ea typeface="Source Sans Pro SemiBold" panose="020B0603030403020204" pitchFamily="34" charset="0"/>
              </a:defRPr>
            </a:lvl1pPr>
          </a:lstStyle>
          <a:p>
            <a:r>
              <a:rPr lang="it-IT"/>
              <a:t>Fare clic per modificare lo stile del titolo dello schema</a:t>
            </a:r>
            <a:br>
              <a:rPr lang="it-IT"/>
            </a:br>
            <a:br>
              <a:rPr lang="it-IT"/>
            </a:br>
            <a:endParaRPr lang="it-IT"/>
          </a:p>
        </p:txBody>
      </p:sp>
    </p:spTree>
    <p:extLst>
      <p:ext uri="{BB962C8B-B14F-4D97-AF65-F5344CB8AC3E}">
        <p14:creationId xmlns:p14="http://schemas.microsoft.com/office/powerpoint/2010/main" val="25942282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20D817E-C4FA-4351-999F-7171C217DD33}"/>
              </a:ext>
            </a:extLst>
          </p:cNvPr>
          <p:cNvSpPr>
            <a:spLocks noGrp="1"/>
          </p:cNvSpPr>
          <p:nvPr>
            <p:ph type="title"/>
          </p:nvPr>
        </p:nvSpPr>
        <p:spPr>
          <a:xfrm>
            <a:off x="407369" y="365126"/>
            <a:ext cx="10946432" cy="543595"/>
          </a:xfrm>
          <a:prstGeom prst="rect">
            <a:avLst/>
          </a:prstGeom>
        </p:spPr>
        <p:txBody>
          <a:bodyPr/>
          <a:lstStyle/>
          <a:p>
            <a:r>
              <a:rPr lang="it-IT"/>
              <a:t>Fare clic per modificare lo stile del titolo dello schema</a:t>
            </a:r>
          </a:p>
        </p:txBody>
      </p:sp>
    </p:spTree>
    <p:extLst>
      <p:ext uri="{BB962C8B-B14F-4D97-AF65-F5344CB8AC3E}">
        <p14:creationId xmlns:p14="http://schemas.microsoft.com/office/powerpoint/2010/main" val="10870828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apositiva Obiettivi">
    <p:spTree>
      <p:nvGrpSpPr>
        <p:cNvPr id="1" name=""/>
        <p:cNvGrpSpPr/>
        <p:nvPr/>
      </p:nvGrpSpPr>
      <p:grpSpPr>
        <a:xfrm>
          <a:off x="0" y="0"/>
          <a:ext cx="0" cy="0"/>
          <a:chOff x="0" y="0"/>
          <a:chExt cx="0" cy="0"/>
        </a:xfrm>
      </p:grpSpPr>
      <p:sp>
        <p:nvSpPr>
          <p:cNvPr id="9" name="Segnaposto testo 10"/>
          <p:cNvSpPr>
            <a:spLocks noGrp="1"/>
          </p:cNvSpPr>
          <p:nvPr>
            <p:ph type="body" sz="quarter" idx="11"/>
          </p:nvPr>
        </p:nvSpPr>
        <p:spPr>
          <a:xfrm>
            <a:off x="335361" y="2141538"/>
            <a:ext cx="10191902" cy="2663998"/>
          </a:xfrm>
          <a:prstGeom prst="rect">
            <a:avLst/>
          </a:prstGeom>
        </p:spPr>
        <p:txBody>
          <a:bodyPr/>
          <a:lstStyle>
            <a:lvl1pPr>
              <a:spcBef>
                <a:spcPts val="738"/>
              </a:spcBef>
              <a:spcAft>
                <a:spcPts val="738"/>
              </a:spcAft>
              <a:buFontTx/>
              <a:buBlip>
                <a:blip r:embed="rId2"/>
              </a:buBlip>
              <a:defRPr sz="2000" baseline="0">
                <a:solidFill>
                  <a:srgbClr val="003A80"/>
                </a:solidFill>
              </a:defRPr>
            </a:lvl1pPr>
            <a:lvl2pPr>
              <a:buFont typeface="Arial" pitchFamily="34" charset="0"/>
              <a:buNone/>
              <a:defRPr sz="2955"/>
            </a:lvl2pPr>
            <a:lvl3pPr>
              <a:defRPr sz="2955"/>
            </a:lvl3pPr>
            <a:lvl4pPr>
              <a:defRPr sz="2955"/>
            </a:lvl4pPr>
            <a:lvl5pPr>
              <a:defRPr sz="2955"/>
            </a:lvl5pPr>
          </a:lstStyle>
          <a:p>
            <a:pPr lvl="0"/>
            <a:r>
              <a:rPr lang="it-IT"/>
              <a:t>Fare clic per modificare stili del testo dello schema</a:t>
            </a:r>
          </a:p>
          <a:p>
            <a:pPr lvl="0"/>
            <a:endParaRPr lang="it-IT"/>
          </a:p>
        </p:txBody>
      </p:sp>
      <p:sp>
        <p:nvSpPr>
          <p:cNvPr id="4" name="Titolo 4"/>
          <p:cNvSpPr>
            <a:spLocks noGrp="1"/>
          </p:cNvSpPr>
          <p:nvPr>
            <p:ph type="title"/>
          </p:nvPr>
        </p:nvSpPr>
        <p:spPr>
          <a:xfrm>
            <a:off x="423989" y="692696"/>
            <a:ext cx="11344030" cy="504056"/>
          </a:xfrm>
          <a:prstGeom prst="rect">
            <a:avLst/>
          </a:prstGeom>
        </p:spPr>
        <p:txBody>
          <a:bodyPr/>
          <a:lstStyle>
            <a:lvl1pPr>
              <a:defRPr sz="2400"/>
            </a:lvl1pPr>
          </a:lstStyle>
          <a:p>
            <a:r>
              <a:rPr lang="it-IT"/>
              <a:t>Fare clic per modificare lo stile del titolo</a:t>
            </a:r>
          </a:p>
        </p:txBody>
      </p:sp>
    </p:spTree>
    <p:extLst>
      <p:ext uri="{BB962C8B-B14F-4D97-AF65-F5344CB8AC3E}">
        <p14:creationId xmlns:p14="http://schemas.microsoft.com/office/powerpoint/2010/main" val="34728609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a Bullet Point">
    <p:spTree>
      <p:nvGrpSpPr>
        <p:cNvPr id="1" name=""/>
        <p:cNvGrpSpPr/>
        <p:nvPr/>
      </p:nvGrpSpPr>
      <p:grpSpPr>
        <a:xfrm>
          <a:off x="0" y="0"/>
          <a:ext cx="0" cy="0"/>
          <a:chOff x="0" y="0"/>
          <a:chExt cx="0" cy="0"/>
        </a:xfrm>
      </p:grpSpPr>
      <p:sp>
        <p:nvSpPr>
          <p:cNvPr id="4" name="Titolo 4"/>
          <p:cNvSpPr>
            <a:spLocks noGrp="1"/>
          </p:cNvSpPr>
          <p:nvPr>
            <p:ph type="title"/>
          </p:nvPr>
        </p:nvSpPr>
        <p:spPr>
          <a:xfrm>
            <a:off x="423989" y="692696"/>
            <a:ext cx="11344030" cy="504056"/>
          </a:xfrm>
          <a:prstGeom prst="rect">
            <a:avLst/>
          </a:prstGeom>
        </p:spPr>
        <p:txBody>
          <a:bodyPr/>
          <a:lstStyle>
            <a:lvl1pPr>
              <a:defRPr sz="2400"/>
            </a:lvl1pPr>
          </a:lstStyle>
          <a:p>
            <a:r>
              <a:rPr lang="it-IT"/>
              <a:t>Fare clic per modificare lo stile del titolo</a:t>
            </a:r>
          </a:p>
        </p:txBody>
      </p:sp>
      <p:sp>
        <p:nvSpPr>
          <p:cNvPr id="5" name="Segnaposto testo 14"/>
          <p:cNvSpPr>
            <a:spLocks noGrp="1"/>
          </p:cNvSpPr>
          <p:nvPr>
            <p:ph type="body" sz="quarter" idx="10"/>
          </p:nvPr>
        </p:nvSpPr>
        <p:spPr>
          <a:xfrm>
            <a:off x="423989" y="1477543"/>
            <a:ext cx="11344030" cy="4903787"/>
          </a:xfrm>
          <a:prstGeom prst="rect">
            <a:avLst/>
          </a:prstGeom>
        </p:spPr>
        <p:txBody>
          <a:bodyPr/>
          <a:lstStyle>
            <a:lvl1pPr marL="549052" indent="-549052">
              <a:spcBef>
                <a:spcPts val="738"/>
              </a:spcBef>
              <a:spcAft>
                <a:spcPts val="738"/>
              </a:spcAft>
              <a:buFont typeface="+mj-lt"/>
              <a:buAutoNum type="arabicPeriod"/>
              <a:defRPr sz="2000">
                <a:solidFill>
                  <a:srgbClr val="003A80"/>
                </a:solidFill>
              </a:defRPr>
            </a:lvl1pPr>
            <a:lvl2pPr marL="885126" indent="-319026">
              <a:spcBef>
                <a:spcPts val="738"/>
              </a:spcBef>
              <a:spcAft>
                <a:spcPts val="738"/>
              </a:spcAft>
              <a:buSzPct val="70000"/>
              <a:buFont typeface="Tahoma" pitchFamily="34" charset="0"/>
              <a:buChar char="□"/>
              <a:defRPr sz="2000">
                <a:solidFill>
                  <a:srgbClr val="003A80"/>
                </a:solidFill>
              </a:defRPr>
            </a:lvl2pPr>
            <a:lvl3pPr marL="1215338" indent="-332166">
              <a:spcBef>
                <a:spcPts val="738"/>
              </a:spcBef>
              <a:spcAft>
                <a:spcPts val="738"/>
              </a:spcAft>
              <a:buClr>
                <a:srgbClr val="F47B20"/>
              </a:buClr>
              <a:buSzPct val="70000"/>
              <a:buFont typeface="Tahoma" pitchFamily="34" charset="0"/>
              <a:buChar char="−"/>
              <a:defRPr sz="2000">
                <a:solidFill>
                  <a:srgbClr val="003A80"/>
                </a:solidFill>
              </a:defRPr>
            </a:lvl3pPr>
            <a:lvl4pPr marL="1322804" indent="-437678">
              <a:buClr>
                <a:srgbClr val="F47B20"/>
              </a:buClr>
              <a:defRPr sz="2955"/>
            </a:lvl4pPr>
          </a:lstStyle>
          <a:p>
            <a:pPr lvl="0"/>
            <a:r>
              <a:rPr lang="it-IT"/>
              <a:t>Fare clic per modificare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41792258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apositiva Numeri">
    <p:spTree>
      <p:nvGrpSpPr>
        <p:cNvPr id="1" name=""/>
        <p:cNvGrpSpPr/>
        <p:nvPr/>
      </p:nvGrpSpPr>
      <p:grpSpPr>
        <a:xfrm>
          <a:off x="0" y="0"/>
          <a:ext cx="0" cy="0"/>
          <a:chOff x="0" y="0"/>
          <a:chExt cx="0" cy="0"/>
        </a:xfrm>
      </p:grpSpPr>
      <p:sp>
        <p:nvSpPr>
          <p:cNvPr id="6" name="Titolo 4"/>
          <p:cNvSpPr>
            <a:spLocks noGrp="1"/>
          </p:cNvSpPr>
          <p:nvPr>
            <p:ph type="title"/>
          </p:nvPr>
        </p:nvSpPr>
        <p:spPr>
          <a:xfrm>
            <a:off x="423989" y="433771"/>
            <a:ext cx="11344030" cy="504056"/>
          </a:xfrm>
          <a:prstGeom prst="rect">
            <a:avLst/>
          </a:prstGeom>
        </p:spPr>
        <p:txBody>
          <a:bodyPr/>
          <a:lstStyle>
            <a:lvl1pPr>
              <a:defRPr sz="3200"/>
            </a:lvl1pPr>
          </a:lstStyle>
          <a:p>
            <a:r>
              <a:rPr lang="it-IT"/>
              <a:t>Fare clic per modificare lo stile del titolo</a:t>
            </a:r>
          </a:p>
        </p:txBody>
      </p:sp>
      <p:sp>
        <p:nvSpPr>
          <p:cNvPr id="15" name="Segnaposto testo 14"/>
          <p:cNvSpPr>
            <a:spLocks noGrp="1"/>
          </p:cNvSpPr>
          <p:nvPr>
            <p:ph type="body" sz="quarter" idx="10"/>
          </p:nvPr>
        </p:nvSpPr>
        <p:spPr>
          <a:xfrm>
            <a:off x="423989" y="1268415"/>
            <a:ext cx="11344030" cy="4903787"/>
          </a:xfrm>
          <a:prstGeom prst="rect">
            <a:avLst/>
          </a:prstGeom>
        </p:spPr>
        <p:txBody>
          <a:bodyPr/>
          <a:lstStyle>
            <a:lvl1pPr>
              <a:defRPr lang="it-IT" sz="2000" dirty="0" smtClean="0">
                <a:solidFill>
                  <a:srgbClr val="003A80"/>
                </a:solidFill>
              </a:defRPr>
            </a:lvl1pPr>
            <a:lvl2pPr>
              <a:defRPr lang="it-IT" sz="2000" dirty="0" smtClean="0">
                <a:solidFill>
                  <a:srgbClr val="003A80"/>
                </a:solidFill>
              </a:defRPr>
            </a:lvl2pPr>
            <a:lvl3pPr>
              <a:defRPr lang="it-IT" sz="2000" dirty="0" smtClean="0">
                <a:solidFill>
                  <a:srgbClr val="003A80"/>
                </a:solidFill>
              </a:defRPr>
            </a:lvl3pPr>
          </a:lstStyle>
          <a:p>
            <a:pPr lvl="0"/>
            <a:r>
              <a:rPr lang="it-IT"/>
              <a:t>Fare clic per modificare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12321554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apositiva 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5539162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positiva Sommario">
    <p:spTree>
      <p:nvGrpSpPr>
        <p:cNvPr id="1" name=""/>
        <p:cNvGrpSpPr/>
        <p:nvPr/>
      </p:nvGrpSpPr>
      <p:grpSpPr>
        <a:xfrm>
          <a:off x="0" y="0"/>
          <a:ext cx="0" cy="0"/>
          <a:chOff x="0" y="0"/>
          <a:chExt cx="0" cy="0"/>
        </a:xfrm>
      </p:grpSpPr>
      <p:pic>
        <p:nvPicPr>
          <p:cNvPr id="4" name="Picture 2" descr="C:\Users\vadorni\Desktop\Nuovo Format\Sintesi.png">
            <a:extLst>
              <a:ext uri="{FF2B5EF4-FFF2-40B4-BE49-F238E27FC236}">
                <a16:creationId xmlns:a16="http://schemas.microsoft.com/office/drawing/2014/main" id="{EE26DE63-0830-4EAA-ADA1-8B2FFC1676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037" y="168275"/>
            <a:ext cx="11601451"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olo 2"/>
          <p:cNvSpPr>
            <a:spLocks noGrp="1"/>
          </p:cNvSpPr>
          <p:nvPr>
            <p:ph type="title"/>
          </p:nvPr>
        </p:nvSpPr>
        <p:spPr>
          <a:xfrm>
            <a:off x="441570" y="692152"/>
            <a:ext cx="11326446" cy="720725"/>
          </a:xfrm>
          <a:prstGeom prst="rect">
            <a:avLst/>
          </a:prstGeom>
          <a:noFill/>
          <a:ln>
            <a:noFill/>
          </a:ln>
        </p:spPr>
        <p:txBody>
          <a:bodyPr/>
          <a:lstStyle>
            <a:lvl1pPr>
              <a:defRPr sz="2400" b="0" kern="1200" baseline="0" dirty="0">
                <a:solidFill>
                  <a:srgbClr val="EA651D"/>
                </a:solidFill>
                <a:latin typeface="Tahoma" pitchFamily="34" charset="0"/>
                <a:ea typeface="+mn-ea"/>
                <a:cs typeface="+mn-cs"/>
              </a:defRPr>
            </a:lvl1pPr>
          </a:lstStyle>
          <a:p>
            <a:pPr lvl="0"/>
            <a:r>
              <a:rPr lang="it-IT"/>
              <a:t>Fare clic per modificare stile</a:t>
            </a:r>
            <a:endParaRPr/>
          </a:p>
        </p:txBody>
      </p:sp>
      <p:sp>
        <p:nvSpPr>
          <p:cNvPr id="7" name="Segnaposto testo 10"/>
          <p:cNvSpPr>
            <a:spLocks noGrp="1"/>
          </p:cNvSpPr>
          <p:nvPr>
            <p:ph type="body" sz="quarter" idx="11"/>
          </p:nvPr>
        </p:nvSpPr>
        <p:spPr>
          <a:xfrm>
            <a:off x="449590" y="1556792"/>
            <a:ext cx="11318427" cy="4032448"/>
          </a:xfrm>
          <a:prstGeom prst="rect">
            <a:avLst/>
          </a:prstGeom>
        </p:spPr>
        <p:txBody>
          <a:bodyPr/>
          <a:lstStyle>
            <a:lvl1pPr>
              <a:buFontTx/>
              <a:buBlip>
                <a:blip r:embed="rId3"/>
              </a:buBlip>
              <a:defRPr sz="2000" baseline="0">
                <a:solidFill>
                  <a:srgbClr val="020061"/>
                </a:solidFill>
              </a:defRPr>
            </a:lvl1pPr>
            <a:lvl2pPr>
              <a:buFont typeface="Arial" pitchFamily="34" charset="0"/>
              <a:buNone/>
              <a:defRPr sz="2955"/>
            </a:lvl2pPr>
            <a:lvl3pPr>
              <a:defRPr sz="2955"/>
            </a:lvl3pPr>
            <a:lvl4pPr>
              <a:defRPr sz="2955"/>
            </a:lvl4pPr>
            <a:lvl5pPr>
              <a:defRPr sz="2955"/>
            </a:lvl5pPr>
          </a:lstStyle>
          <a:p>
            <a:pPr lvl="0"/>
            <a:r>
              <a:rPr lang="it-IT"/>
              <a:t>Fare clic per modificare stili del testo dello schema</a:t>
            </a:r>
          </a:p>
          <a:p>
            <a:pPr lvl="0"/>
            <a:endParaRPr lang="it-IT"/>
          </a:p>
        </p:txBody>
      </p:sp>
    </p:spTree>
    <p:extLst>
      <p:ext uri="{BB962C8B-B14F-4D97-AF65-F5344CB8AC3E}">
        <p14:creationId xmlns:p14="http://schemas.microsoft.com/office/powerpoint/2010/main" val="37793451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iapositiva Sommario">
    <p:spTree>
      <p:nvGrpSpPr>
        <p:cNvPr id="1" name=""/>
        <p:cNvGrpSpPr/>
        <p:nvPr/>
      </p:nvGrpSpPr>
      <p:grpSpPr>
        <a:xfrm>
          <a:off x="0" y="0"/>
          <a:ext cx="0" cy="0"/>
          <a:chOff x="0" y="0"/>
          <a:chExt cx="0" cy="0"/>
        </a:xfrm>
      </p:grpSpPr>
      <p:pic>
        <p:nvPicPr>
          <p:cNvPr id="4" name="Picture 2" descr="C:\Users\vadorni\Desktop\Nuovo Format\Sintesi.png">
            <a:extLst>
              <a:ext uri="{FF2B5EF4-FFF2-40B4-BE49-F238E27FC236}">
                <a16:creationId xmlns:a16="http://schemas.microsoft.com/office/drawing/2014/main" id="{097C489D-B365-4A63-B8F6-B4DF74BAE6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6549" y="168276"/>
            <a:ext cx="11601451" cy="585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olo 2"/>
          <p:cNvSpPr>
            <a:spLocks noGrp="1"/>
          </p:cNvSpPr>
          <p:nvPr>
            <p:ph type="title"/>
          </p:nvPr>
        </p:nvSpPr>
        <p:spPr>
          <a:xfrm>
            <a:off x="441572" y="692154"/>
            <a:ext cx="11326446" cy="720725"/>
          </a:xfrm>
          <a:prstGeom prst="rect">
            <a:avLst/>
          </a:prstGeom>
          <a:noFill/>
          <a:ln>
            <a:noFill/>
          </a:ln>
        </p:spPr>
        <p:txBody>
          <a:bodyPr/>
          <a:lstStyle>
            <a:lvl1pPr>
              <a:defRPr sz="2400" b="0" kern="1200" baseline="0" dirty="0">
                <a:solidFill>
                  <a:srgbClr val="EA651D"/>
                </a:solidFill>
                <a:latin typeface="Tahoma" pitchFamily="34" charset="0"/>
                <a:ea typeface="+mn-ea"/>
                <a:cs typeface="+mn-cs"/>
              </a:defRPr>
            </a:lvl1pPr>
          </a:lstStyle>
          <a:p>
            <a:pPr lvl="0"/>
            <a:r>
              <a:rPr lang="it-IT"/>
              <a:t>Fare clic per modificare stile</a:t>
            </a:r>
            <a:endParaRPr/>
          </a:p>
        </p:txBody>
      </p:sp>
      <p:sp>
        <p:nvSpPr>
          <p:cNvPr id="7" name="Segnaposto testo 10"/>
          <p:cNvSpPr>
            <a:spLocks noGrp="1"/>
          </p:cNvSpPr>
          <p:nvPr>
            <p:ph type="body" sz="quarter" idx="11"/>
          </p:nvPr>
        </p:nvSpPr>
        <p:spPr>
          <a:xfrm>
            <a:off x="449590" y="1556792"/>
            <a:ext cx="11318427" cy="4032448"/>
          </a:xfrm>
          <a:prstGeom prst="rect">
            <a:avLst/>
          </a:prstGeom>
        </p:spPr>
        <p:txBody>
          <a:bodyPr/>
          <a:lstStyle>
            <a:lvl1pPr>
              <a:buFontTx/>
              <a:buBlip>
                <a:blip r:embed="rId3"/>
              </a:buBlip>
              <a:defRPr sz="2000" baseline="0">
                <a:solidFill>
                  <a:srgbClr val="003A80"/>
                </a:solidFill>
              </a:defRPr>
            </a:lvl1pPr>
            <a:lvl2pPr>
              <a:buFont typeface="Arial" pitchFamily="34" charset="0"/>
              <a:buNone/>
              <a:defRPr sz="2955"/>
            </a:lvl2pPr>
            <a:lvl3pPr>
              <a:defRPr sz="2955"/>
            </a:lvl3pPr>
            <a:lvl4pPr>
              <a:defRPr sz="2955"/>
            </a:lvl4pPr>
            <a:lvl5pPr>
              <a:defRPr sz="2955"/>
            </a:lvl5pPr>
          </a:lstStyle>
          <a:p>
            <a:pPr lvl="0"/>
            <a:r>
              <a:rPr lang="it-IT"/>
              <a:t>Fare clic per modificare stili del testo dello schema</a:t>
            </a:r>
          </a:p>
          <a:p>
            <a:pPr lvl="0"/>
            <a:endParaRPr lang="it-IT"/>
          </a:p>
        </p:txBody>
      </p:sp>
    </p:spTree>
    <p:extLst>
      <p:ext uri="{BB962C8B-B14F-4D97-AF65-F5344CB8AC3E}">
        <p14:creationId xmlns:p14="http://schemas.microsoft.com/office/powerpoint/2010/main" val="1806905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 ITA">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6261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contenuto 5">
            <a:extLst>
              <a:ext uri="{FF2B5EF4-FFF2-40B4-BE49-F238E27FC236}">
                <a16:creationId xmlns:a16="http://schemas.microsoft.com/office/drawing/2014/main" id="{2997CE74-FC52-42EC-BC36-AA81E2E2126A}"/>
              </a:ext>
            </a:extLst>
          </p:cNvPr>
          <p:cNvSpPr>
            <a:spLocks noGrp="1"/>
          </p:cNvSpPr>
          <p:nvPr>
            <p:ph sz="quarter" idx="11"/>
          </p:nvPr>
        </p:nvSpPr>
        <p:spPr>
          <a:xfrm>
            <a:off x="403227" y="1083366"/>
            <a:ext cx="11384494" cy="4780723"/>
          </a:xfrm>
          <a:prstGeom prst="rect">
            <a:avLst/>
          </a:prstGeom>
        </p:spPr>
        <p:txBody>
          <a:bodyPr/>
          <a:lstStyle>
            <a:lvl1pPr marL="357192" indent="-357192">
              <a:buClr>
                <a:srgbClr val="F47B20"/>
              </a:buClr>
              <a:buFont typeface="Arial" panose="020B0604020202020204" pitchFamily="34" charset="0"/>
              <a:buChar char="•"/>
              <a:defRPr sz="1801">
                <a:solidFill>
                  <a:srgbClr val="001E60"/>
                </a:solidFill>
              </a:defRPr>
            </a:lvl1pPr>
            <a:lvl2pPr marL="715972" indent="-358780">
              <a:buClr>
                <a:srgbClr val="F47B20"/>
              </a:buClr>
              <a:buSzPct val="70000"/>
              <a:buFont typeface="Courier New" panose="02070309020205020404" pitchFamily="49" charset="0"/>
              <a:buChar char="o"/>
              <a:defRPr sz="1801">
                <a:solidFill>
                  <a:srgbClr val="001E60"/>
                </a:solidFill>
              </a:defRPr>
            </a:lvl2pPr>
            <a:lvl3pPr marL="1073164" indent="-357192">
              <a:buClr>
                <a:srgbClr val="F47B20"/>
              </a:buClr>
              <a:buFont typeface="Wingdings" panose="05000000000000000000" pitchFamily="2" charset="2"/>
              <a:buChar char="§"/>
              <a:defRPr sz="1801">
                <a:solidFill>
                  <a:srgbClr val="001E60"/>
                </a:solidFill>
              </a:defRPr>
            </a:lvl3pPr>
            <a:lvl4pPr marL="1431943" indent="-358780">
              <a:buClr>
                <a:srgbClr val="F47B20"/>
              </a:buClr>
              <a:buSzPct val="50000"/>
              <a:buFont typeface="Wingdings" panose="05000000000000000000" pitchFamily="2" charset="2"/>
              <a:buChar char="q"/>
              <a:defRPr sz="1801">
                <a:solidFill>
                  <a:srgbClr val="001E60"/>
                </a:solidFill>
              </a:defRPr>
            </a:lvl4pPr>
            <a:lvl5pPr marL="1789135" indent="-357192">
              <a:buClr>
                <a:srgbClr val="F47B20"/>
              </a:buClr>
              <a:buFont typeface="Source Sans Pro" panose="020B0503030403020204" pitchFamily="34" charset="0"/>
              <a:buChar char="−"/>
              <a:defRPr sz="1801">
                <a:solidFill>
                  <a:srgbClr val="001E60"/>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Tree>
    <p:extLst>
      <p:ext uri="{BB962C8B-B14F-4D97-AF65-F5344CB8AC3E}">
        <p14:creationId xmlns:p14="http://schemas.microsoft.com/office/powerpoint/2010/main" val="38408338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olo 2 righ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4B0247E-C23A-4A31-B60B-C6B02AC79597}"/>
              </a:ext>
            </a:extLst>
          </p:cNvPr>
          <p:cNvSpPr>
            <a:spLocks noGrp="1"/>
          </p:cNvSpPr>
          <p:nvPr>
            <p:ph type="title"/>
          </p:nvPr>
        </p:nvSpPr>
        <p:spPr>
          <a:xfrm>
            <a:off x="419896" y="260649"/>
            <a:ext cx="11352212" cy="576263"/>
          </a:xfrm>
          <a:prstGeom prst="rect">
            <a:avLst/>
          </a:prstGeom>
        </p:spPr>
        <p:txBody>
          <a:bodyPr/>
          <a:lstStyle>
            <a:lvl1pPr>
              <a:defRPr sz="2800">
                <a:solidFill>
                  <a:srgbClr val="F47B20"/>
                </a:solidFill>
                <a:latin typeface="Source Sans Pro SemiBold" panose="020B0603030403020204" pitchFamily="34" charset="0"/>
                <a:ea typeface="Source Sans Pro SemiBold" panose="020B0603030403020204" pitchFamily="34" charset="0"/>
              </a:defRPr>
            </a:lvl1pPr>
          </a:lstStyle>
          <a:p>
            <a:r>
              <a:rPr lang="it-IT"/>
              <a:t>Fare clic per modificare lo stile del titolo dello schema</a:t>
            </a:r>
          </a:p>
        </p:txBody>
      </p:sp>
      <p:sp>
        <p:nvSpPr>
          <p:cNvPr id="3" name="Segnaposto testo 3">
            <a:extLst>
              <a:ext uri="{FF2B5EF4-FFF2-40B4-BE49-F238E27FC236}">
                <a16:creationId xmlns:a16="http://schemas.microsoft.com/office/drawing/2014/main" id="{2B8A8D61-C940-42D6-A3CB-0F8A067068A9}"/>
              </a:ext>
            </a:extLst>
          </p:cNvPr>
          <p:cNvSpPr>
            <a:spLocks noGrp="1"/>
          </p:cNvSpPr>
          <p:nvPr>
            <p:ph type="body" sz="quarter" idx="10"/>
          </p:nvPr>
        </p:nvSpPr>
        <p:spPr>
          <a:xfrm>
            <a:off x="420689" y="1182688"/>
            <a:ext cx="11350626" cy="427355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2806320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Messaggio">
    <p:spTree>
      <p:nvGrpSpPr>
        <p:cNvPr id="1" name=""/>
        <p:cNvGrpSpPr/>
        <p:nvPr/>
      </p:nvGrpSpPr>
      <p:grpSpPr>
        <a:xfrm>
          <a:off x="0" y="0"/>
          <a:ext cx="0" cy="0"/>
          <a:chOff x="0" y="0"/>
          <a:chExt cx="0" cy="0"/>
        </a:xfrm>
      </p:grpSpPr>
      <p:cxnSp>
        <p:nvCxnSpPr>
          <p:cNvPr id="3" name="Connettore diritto 2">
            <a:extLst>
              <a:ext uri="{FF2B5EF4-FFF2-40B4-BE49-F238E27FC236}">
                <a16:creationId xmlns:a16="http://schemas.microsoft.com/office/drawing/2014/main" id="{480F71A9-D972-4409-A7C4-6DA65A4DD8BA}"/>
              </a:ext>
            </a:extLst>
          </p:cNvPr>
          <p:cNvCxnSpPr>
            <a:cxnSpLocks/>
          </p:cNvCxnSpPr>
          <p:nvPr userDrawn="1"/>
        </p:nvCxnSpPr>
        <p:spPr>
          <a:xfrm>
            <a:off x="399888" y="4123948"/>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
        <p:nvSpPr>
          <p:cNvPr id="4" name="Titolo 3">
            <a:extLst>
              <a:ext uri="{FF2B5EF4-FFF2-40B4-BE49-F238E27FC236}">
                <a16:creationId xmlns:a16="http://schemas.microsoft.com/office/drawing/2014/main" id="{A513269F-8769-4D15-BDFB-860623E861C9}"/>
              </a:ext>
            </a:extLst>
          </p:cNvPr>
          <p:cNvSpPr>
            <a:spLocks noGrp="1"/>
          </p:cNvSpPr>
          <p:nvPr>
            <p:ph type="title"/>
          </p:nvPr>
        </p:nvSpPr>
        <p:spPr>
          <a:xfrm>
            <a:off x="403315" y="2183987"/>
            <a:ext cx="10932268" cy="553199"/>
          </a:xfrm>
          <a:prstGeom prst="rect">
            <a:avLst/>
          </a:prstGeom>
        </p:spPr>
        <p:txBody>
          <a:bodyPr vert="horz" lIns="91440" tIns="45720" rIns="91440" bIns="45720" rtlCol="0" anchor="ctr">
            <a:noAutofit/>
          </a:bodyPr>
          <a:lstStyle>
            <a:lvl1pPr algn="ctr" rtl="0" eaLnBrk="0" fontAlgn="base" hangingPunct="0">
              <a:spcBef>
                <a:spcPct val="0"/>
              </a:spcBef>
              <a:spcAft>
                <a:spcPct val="0"/>
              </a:spcAft>
              <a:defRPr sz="3200">
                <a:solidFill>
                  <a:srgbClr val="F47B20"/>
                </a:solidFill>
                <a:latin typeface="+mj-lt"/>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Tree>
    <p:extLst>
      <p:ext uri="{BB962C8B-B14F-4D97-AF65-F5344CB8AC3E}">
        <p14:creationId xmlns:p14="http://schemas.microsoft.com/office/powerpoint/2010/main" val="3946178789"/>
      </p:ext>
    </p:extLst>
  </p:cSld>
  <p:clrMapOvr>
    <a:masterClrMapping/>
  </p:clrMapOvr>
  <p:extLst>
    <p:ext uri="{DCECCB84-F9BA-43D5-87BE-67443E8EF086}">
      <p15:sldGuideLst xmlns:p15="http://schemas.microsoft.com/office/powerpoint/2012/main">
        <p15:guide id="1" orient="horz" pos="1933" userDrawn="1">
          <p15:clr>
            <a:srgbClr val="FBAE40"/>
          </p15:clr>
        </p15:guide>
        <p15:guide id="2" pos="551"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sp>
        <p:nvSpPr>
          <p:cNvPr id="9"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11"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spTree>
    <p:extLst>
      <p:ext uri="{BB962C8B-B14F-4D97-AF65-F5344CB8AC3E}">
        <p14:creationId xmlns:p14="http://schemas.microsoft.com/office/powerpoint/2010/main" val="41435870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Diapositiva titolo">
    <p:spTree>
      <p:nvGrpSpPr>
        <p:cNvPr id="1" name=""/>
        <p:cNvGrpSpPr/>
        <p:nvPr/>
      </p:nvGrpSpPr>
      <p:grpSpPr>
        <a:xfrm>
          <a:off x="0" y="0"/>
          <a:ext cx="0" cy="0"/>
          <a:chOff x="0" y="0"/>
          <a:chExt cx="0" cy="0"/>
        </a:xfrm>
      </p:grpSpPr>
      <p:sp>
        <p:nvSpPr>
          <p:cNvPr id="4"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5"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spTree>
    <p:extLst>
      <p:ext uri="{BB962C8B-B14F-4D97-AF65-F5344CB8AC3E}">
        <p14:creationId xmlns:p14="http://schemas.microsoft.com/office/powerpoint/2010/main" val="14614275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8"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9"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spTree>
    <p:extLst>
      <p:ext uri="{BB962C8B-B14F-4D97-AF65-F5344CB8AC3E}">
        <p14:creationId xmlns:p14="http://schemas.microsoft.com/office/powerpoint/2010/main" val="29197169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testazione sezion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138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pic>
        <p:nvPicPr>
          <p:cNvPr id="15" name="Immagin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17"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1" i="0" baseline="0" smtClean="0">
                <a:solidFill>
                  <a:srgbClr val="F47B20"/>
                </a:solidFill>
                <a:latin typeface="Red Hat Display"/>
              </a:rPr>
              <a:pPr algn="ctr" eaLnBrk="1" hangingPunct="1"/>
              <a:t>‹N›</a:t>
            </a:fld>
            <a:endParaRPr lang="it-IT" sz="1001" b="1" i="0" baseline="0">
              <a:solidFill>
                <a:srgbClr val="F47B20"/>
              </a:solidFill>
              <a:latin typeface="Red Hat Display"/>
            </a:endParaRPr>
          </a:p>
        </p:txBody>
      </p:sp>
    </p:spTree>
    <p:extLst>
      <p:ext uri="{BB962C8B-B14F-4D97-AF65-F5344CB8AC3E}">
        <p14:creationId xmlns:p14="http://schemas.microsoft.com/office/powerpoint/2010/main" val="34152149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fronto">
    <p:spTree>
      <p:nvGrpSpPr>
        <p:cNvPr id="1" name=""/>
        <p:cNvGrpSpPr/>
        <p:nvPr/>
      </p:nvGrpSpPr>
      <p:grpSpPr>
        <a:xfrm>
          <a:off x="0" y="0"/>
          <a:ext cx="0" cy="0"/>
          <a:chOff x="0" y="0"/>
          <a:chExt cx="0" cy="0"/>
        </a:xfrm>
      </p:grpSpPr>
      <p:pic>
        <p:nvPicPr>
          <p:cNvPr id="10" name="Immagin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12"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1" i="0" baseline="0" smtClean="0">
                <a:solidFill>
                  <a:srgbClr val="F47B20"/>
                </a:solidFill>
                <a:latin typeface="Red Hat Display"/>
              </a:rPr>
              <a:pPr algn="ctr" eaLnBrk="1" hangingPunct="1"/>
              <a:t>‹N›</a:t>
            </a:fld>
            <a:endParaRPr lang="it-IT" sz="1001" b="1" i="0" baseline="0">
              <a:solidFill>
                <a:srgbClr val="F47B20"/>
              </a:solidFill>
              <a:latin typeface="Red Hat Display"/>
            </a:endParaRPr>
          </a:p>
        </p:txBody>
      </p:sp>
    </p:spTree>
    <p:extLst>
      <p:ext uri="{BB962C8B-B14F-4D97-AF65-F5344CB8AC3E}">
        <p14:creationId xmlns:p14="http://schemas.microsoft.com/office/powerpoint/2010/main" val="3872975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pic>
        <p:nvPicPr>
          <p:cNvPr id="6" name="Immagin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8"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1" i="0" baseline="0" smtClean="0">
                <a:solidFill>
                  <a:srgbClr val="F47B20"/>
                </a:solidFill>
                <a:latin typeface="Red Hat Display"/>
              </a:rPr>
              <a:pPr algn="ctr" eaLnBrk="1" hangingPunct="1"/>
              <a:t>‹N›</a:t>
            </a:fld>
            <a:endParaRPr lang="it-IT" sz="1001" b="1" i="0" baseline="0">
              <a:solidFill>
                <a:srgbClr val="F47B20"/>
              </a:solidFill>
              <a:latin typeface="Red Hat Display"/>
            </a:endParaRPr>
          </a:p>
        </p:txBody>
      </p:sp>
    </p:spTree>
    <p:extLst>
      <p:ext uri="{BB962C8B-B14F-4D97-AF65-F5344CB8AC3E}">
        <p14:creationId xmlns:p14="http://schemas.microsoft.com/office/powerpoint/2010/main" val="10791267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olo 2 righe">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1458886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testo 5">
            <a:extLst>
              <a:ext uri="{FF2B5EF4-FFF2-40B4-BE49-F238E27FC236}">
                <a16:creationId xmlns:a16="http://schemas.microsoft.com/office/drawing/2014/main" id="{F43C7B1A-5D74-4852-8F13-DA3E8B3373DB}"/>
              </a:ext>
            </a:extLst>
          </p:cNvPr>
          <p:cNvSpPr>
            <a:spLocks noGrp="1"/>
          </p:cNvSpPr>
          <p:nvPr>
            <p:ph type="body" sz="quarter" idx="10"/>
          </p:nvPr>
        </p:nvSpPr>
        <p:spPr>
          <a:xfrm>
            <a:off x="2206693" y="6311555"/>
            <a:ext cx="8488363" cy="277812"/>
          </a:xfrm>
          <a:prstGeom prst="rect">
            <a:avLst/>
          </a:prstGeom>
        </p:spPr>
        <p:txBody>
          <a:bodyPr/>
          <a:lstStyle>
            <a:lvl1pPr marL="0" indent="0">
              <a:buNone/>
              <a:defRPr sz="1200">
                <a:solidFill>
                  <a:schemeClr val="bg1">
                    <a:lumMod val="50000"/>
                  </a:schemeClr>
                </a:solidFill>
              </a:defRPr>
            </a:lvl1pPr>
          </a:lstStyle>
          <a:p>
            <a:pPr lvl="0"/>
            <a:endParaRPr lang="en-US"/>
          </a:p>
        </p:txBody>
      </p:sp>
    </p:spTree>
    <p:extLst>
      <p:ext uri="{BB962C8B-B14F-4D97-AF65-F5344CB8AC3E}">
        <p14:creationId xmlns:p14="http://schemas.microsoft.com/office/powerpoint/2010/main" val="1488919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 ENG">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122656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contenuto 5">
            <a:extLst>
              <a:ext uri="{FF2B5EF4-FFF2-40B4-BE49-F238E27FC236}">
                <a16:creationId xmlns:a16="http://schemas.microsoft.com/office/drawing/2014/main" id="{2997CE74-FC52-42EC-BC36-AA81E2E2126A}"/>
              </a:ext>
            </a:extLst>
          </p:cNvPr>
          <p:cNvSpPr>
            <a:spLocks noGrp="1"/>
          </p:cNvSpPr>
          <p:nvPr>
            <p:ph sz="quarter" idx="11"/>
          </p:nvPr>
        </p:nvSpPr>
        <p:spPr>
          <a:xfrm>
            <a:off x="403227" y="1083366"/>
            <a:ext cx="11384494" cy="4780723"/>
          </a:xfrm>
          <a:prstGeom prst="rect">
            <a:avLst/>
          </a:prstGeom>
        </p:spPr>
        <p:txBody>
          <a:bodyPr/>
          <a:lstStyle>
            <a:lvl1pPr marL="357192" indent="-357192">
              <a:buClr>
                <a:srgbClr val="F47B20"/>
              </a:buClr>
              <a:buFont typeface="Arial" panose="020B0604020202020204" pitchFamily="34" charset="0"/>
              <a:buChar char="•"/>
              <a:defRPr sz="1801">
                <a:solidFill>
                  <a:srgbClr val="001E60"/>
                </a:solidFill>
              </a:defRPr>
            </a:lvl1pPr>
            <a:lvl2pPr marL="715972" indent="-358780">
              <a:buClr>
                <a:srgbClr val="F47B20"/>
              </a:buClr>
              <a:buSzPct val="70000"/>
              <a:buFont typeface="Courier New" panose="02070309020205020404" pitchFamily="49" charset="0"/>
              <a:buChar char="o"/>
              <a:defRPr sz="1801">
                <a:solidFill>
                  <a:srgbClr val="001E60"/>
                </a:solidFill>
              </a:defRPr>
            </a:lvl2pPr>
            <a:lvl3pPr marL="1073164" indent="-357192">
              <a:buClr>
                <a:srgbClr val="F47B20"/>
              </a:buClr>
              <a:buFont typeface="Wingdings" panose="05000000000000000000" pitchFamily="2" charset="2"/>
              <a:buChar char="§"/>
              <a:defRPr sz="1801">
                <a:solidFill>
                  <a:srgbClr val="001E60"/>
                </a:solidFill>
              </a:defRPr>
            </a:lvl3pPr>
            <a:lvl4pPr marL="1431943" indent="-358780">
              <a:buClr>
                <a:srgbClr val="F47B20"/>
              </a:buClr>
              <a:buSzPct val="50000"/>
              <a:buFont typeface="Wingdings" panose="05000000000000000000" pitchFamily="2" charset="2"/>
              <a:buChar char="q"/>
              <a:defRPr sz="1801">
                <a:solidFill>
                  <a:srgbClr val="001E60"/>
                </a:solidFill>
              </a:defRPr>
            </a:lvl4pPr>
            <a:lvl5pPr marL="1789135" indent="-357192">
              <a:buClr>
                <a:srgbClr val="F47B20"/>
              </a:buClr>
              <a:buFont typeface="Source Sans Pro" panose="020B0503030403020204" pitchFamily="34" charset="0"/>
              <a:buChar char="−"/>
              <a:defRPr sz="1801">
                <a:solidFill>
                  <a:srgbClr val="001E60"/>
                </a:solidFill>
              </a:defRPr>
            </a:lvl5pPr>
          </a:lstStyle>
          <a:p>
            <a:pPr lvl="0"/>
            <a:r>
              <a:rPr lang="en-US" noProof="0"/>
              <a:t>Fare clic per modificare gli stili del testo dello schema</a:t>
            </a:r>
          </a:p>
          <a:p>
            <a:pPr lvl="1"/>
            <a:r>
              <a:rPr lang="en-US" noProof="0"/>
              <a:t>Secondo livello</a:t>
            </a:r>
          </a:p>
          <a:p>
            <a:pPr lvl="2"/>
            <a:r>
              <a:rPr lang="en-US" noProof="0"/>
              <a:t>Terzo livello</a:t>
            </a:r>
          </a:p>
          <a:p>
            <a:pPr lvl="3"/>
            <a:r>
              <a:rPr lang="en-US" noProof="0"/>
              <a:t>Quarto livello</a:t>
            </a:r>
          </a:p>
          <a:p>
            <a:pPr lvl="4"/>
            <a:r>
              <a:rPr lang="en-US" noProof="0"/>
              <a:t>Quinto livello</a:t>
            </a:r>
          </a:p>
        </p:txBody>
      </p:sp>
    </p:spTree>
    <p:extLst>
      <p:ext uri="{BB962C8B-B14F-4D97-AF65-F5344CB8AC3E}">
        <p14:creationId xmlns:p14="http://schemas.microsoft.com/office/powerpoint/2010/main" val="2178524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Diapositiva Titolo">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1" name="CasellaDiTesto 10">
            <a:extLst>
              <a:ext uri="{FF2B5EF4-FFF2-40B4-BE49-F238E27FC236}">
                <a16:creationId xmlns:a16="http://schemas.microsoft.com/office/drawing/2014/main" id="{2D942B9A-A55E-4682-A543-6D063B114899}"/>
              </a:ext>
            </a:extLst>
          </p:cNvPr>
          <p:cNvSpPr txBox="1"/>
          <p:nvPr userDrawn="1"/>
        </p:nvSpPr>
        <p:spPr>
          <a:xfrm>
            <a:off x="5399122" y="500479"/>
            <a:ext cx="6337198" cy="276999"/>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1E60"/>
                </a:solidFill>
                <a:effectLst/>
                <a:uLnTx/>
                <a:uFillTx/>
                <a:latin typeface="Source Sans Pro"/>
                <a:ea typeface="Source Sans Pro SemiBold" panose="020B0603030403020204" pitchFamily="34" charset="0"/>
                <a:cs typeface="+mn-cs"/>
              </a:rPr>
              <a:t>THINK TANK  |  MANAGEMENT CONSULTING  |  LEADERS’ EDUCATION  |  SUMMIT</a:t>
            </a:r>
          </a:p>
        </p:txBody>
      </p:sp>
      <p:sp>
        <p:nvSpPr>
          <p:cNvPr id="12" name="CasellaDiTesto 11">
            <a:extLst>
              <a:ext uri="{FF2B5EF4-FFF2-40B4-BE49-F238E27FC236}">
                <a16:creationId xmlns:a16="http://schemas.microsoft.com/office/drawing/2014/main" id="{23C36DDE-09C7-41CB-9CBE-B45153495ED5}"/>
              </a:ext>
            </a:extLst>
          </p:cNvPr>
          <p:cNvSpPr txBox="1"/>
          <p:nvPr userDrawn="1"/>
        </p:nvSpPr>
        <p:spPr>
          <a:xfrm>
            <a:off x="240886" y="6474566"/>
            <a:ext cx="1479644" cy="200055"/>
          </a:xfrm>
          <a:prstGeom prst="rect">
            <a:avLst/>
          </a:prstGeom>
          <a:solidFill>
            <a:schemeClr val="bg1"/>
          </a:solid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2024 Tutti i diritti riservati.</a:t>
            </a: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pic>
        <p:nvPicPr>
          <p:cNvPr id="4" name="Immagine 3" descr="Immagine che contiene testo, Carattere, linea, schermata&#10;&#10;Descrizione generata automaticamente">
            <a:extLst>
              <a:ext uri="{FF2B5EF4-FFF2-40B4-BE49-F238E27FC236}">
                <a16:creationId xmlns:a16="http://schemas.microsoft.com/office/drawing/2014/main" id="{C0BEF47D-DF6B-6374-F352-80DD995439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7211" y="456098"/>
            <a:ext cx="2299426" cy="365761"/>
          </a:xfrm>
          <a:prstGeom prst="rect">
            <a:avLst/>
          </a:prstGeom>
        </p:spPr>
      </p:pic>
    </p:spTree>
    <p:extLst>
      <p:ext uri="{BB962C8B-B14F-4D97-AF65-F5344CB8AC3E}">
        <p14:creationId xmlns:p14="http://schemas.microsoft.com/office/powerpoint/2010/main" val="31242146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_Diapositiva Titolo">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spTree>
    <p:extLst>
      <p:ext uri="{BB962C8B-B14F-4D97-AF65-F5344CB8AC3E}">
        <p14:creationId xmlns:p14="http://schemas.microsoft.com/office/powerpoint/2010/main" val="41699250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apositiva Bullet Point">
    <p:spTree>
      <p:nvGrpSpPr>
        <p:cNvPr id="1" name=""/>
        <p:cNvGrpSpPr/>
        <p:nvPr/>
      </p:nvGrpSpPr>
      <p:grpSpPr>
        <a:xfrm>
          <a:off x="0" y="0"/>
          <a:ext cx="0" cy="0"/>
          <a:chOff x="0" y="0"/>
          <a:chExt cx="0" cy="0"/>
        </a:xfrm>
      </p:grpSpPr>
      <p:sp>
        <p:nvSpPr>
          <p:cNvPr id="4" name="Titolo 4"/>
          <p:cNvSpPr>
            <a:spLocks noGrp="1"/>
          </p:cNvSpPr>
          <p:nvPr>
            <p:ph type="title"/>
          </p:nvPr>
        </p:nvSpPr>
        <p:spPr>
          <a:xfrm>
            <a:off x="423989" y="0"/>
            <a:ext cx="11344030" cy="898578"/>
          </a:xfrm>
          <a:prstGeom prst="rect">
            <a:avLst/>
          </a:prstGeom>
        </p:spPr>
        <p:txBody>
          <a:bodyPr/>
          <a:lstStyle>
            <a:lvl1pPr algn="l">
              <a:defRPr sz="2800"/>
            </a:lvl1pPr>
          </a:lstStyle>
          <a:p>
            <a:r>
              <a:rPr lang="it-IT"/>
              <a:t>Fare clic per modificare lo stile del titolo</a:t>
            </a:r>
          </a:p>
        </p:txBody>
      </p:sp>
      <p:sp>
        <p:nvSpPr>
          <p:cNvPr id="2" name="Segnaposto testo 14">
            <a:extLst>
              <a:ext uri="{FF2B5EF4-FFF2-40B4-BE49-F238E27FC236}">
                <a16:creationId xmlns:a16="http://schemas.microsoft.com/office/drawing/2014/main" id="{EB249097-AA13-5DDD-F610-130FBC570C40}"/>
              </a:ext>
            </a:extLst>
          </p:cNvPr>
          <p:cNvSpPr>
            <a:spLocks noGrp="1"/>
          </p:cNvSpPr>
          <p:nvPr>
            <p:ph type="body" sz="quarter" idx="10" hasCustomPrompt="1"/>
          </p:nvPr>
        </p:nvSpPr>
        <p:spPr>
          <a:xfrm>
            <a:off x="423989" y="1060101"/>
            <a:ext cx="11344030" cy="4903787"/>
          </a:xfrm>
          <a:prstGeom prst="rect">
            <a:avLst/>
          </a:prstGeom>
        </p:spPr>
        <p:txBody>
          <a:bodyPr>
            <a:noAutofit/>
          </a:bodyPr>
          <a:lstStyle>
            <a:lvl1pPr marL="268291" indent="-268291">
              <a:spcBef>
                <a:spcPts val="738"/>
              </a:spcBef>
              <a:spcAft>
                <a:spcPts val="738"/>
              </a:spcAft>
              <a:buFont typeface="Arial" panose="020B0604020202020204" pitchFamily="34" charset="0"/>
              <a:buChar char="•"/>
              <a:defRPr sz="2000">
                <a:solidFill>
                  <a:srgbClr val="001E60"/>
                </a:solidFill>
              </a:defRPr>
            </a:lvl1pPr>
            <a:lvl2pPr marL="625483" indent="-268291">
              <a:spcBef>
                <a:spcPts val="738"/>
              </a:spcBef>
              <a:spcAft>
                <a:spcPts val="738"/>
              </a:spcAft>
              <a:buSzPct val="80000"/>
              <a:buFont typeface="Courier New" panose="02070309020205020404" pitchFamily="49" charset="0"/>
              <a:buChar char="o"/>
              <a:defRPr sz="2000">
                <a:solidFill>
                  <a:srgbClr val="001E60"/>
                </a:solidFill>
              </a:defRPr>
            </a:lvl2pPr>
            <a:lvl3pPr marL="1215338" indent="-332166">
              <a:spcBef>
                <a:spcPts val="738"/>
              </a:spcBef>
              <a:spcAft>
                <a:spcPts val="738"/>
              </a:spcAft>
              <a:buClr>
                <a:srgbClr val="F47B20"/>
              </a:buClr>
              <a:buSzPct val="70000"/>
              <a:buFont typeface="Tahoma" pitchFamily="34" charset="0"/>
              <a:buChar char="−"/>
              <a:defRPr sz="2000">
                <a:solidFill>
                  <a:srgbClr val="001E60"/>
                </a:solidFill>
              </a:defRPr>
            </a:lvl3pPr>
            <a:lvl4pPr marL="1322804" indent="-437678">
              <a:buClr>
                <a:srgbClr val="F47B20"/>
              </a:buClr>
              <a:defRPr sz="2955"/>
            </a:lvl4pPr>
          </a:lstStyle>
          <a:p>
            <a:pPr lvl="0"/>
            <a:r>
              <a:rPr lang="it-IT"/>
              <a:t>Fare clic per modificare stili del testo dello schema</a:t>
            </a:r>
          </a:p>
          <a:p>
            <a:pPr lvl="1"/>
            <a:r>
              <a:rPr lang="it-IT"/>
              <a:t>xxx</a:t>
            </a:r>
          </a:p>
        </p:txBody>
      </p:sp>
    </p:spTree>
    <p:extLst>
      <p:ext uri="{BB962C8B-B14F-4D97-AF65-F5344CB8AC3E}">
        <p14:creationId xmlns:p14="http://schemas.microsoft.com/office/powerpoint/2010/main" val="6779435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8"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9"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cxnSp>
        <p:nvCxnSpPr>
          <p:cNvPr id="4" name="Connettore diritto 3">
            <a:extLst>
              <a:ext uri="{FF2B5EF4-FFF2-40B4-BE49-F238E27FC236}">
                <a16:creationId xmlns:a16="http://schemas.microsoft.com/office/drawing/2014/main" id="{B3FA94F2-F432-4074-80C8-0476AC6F63D2}"/>
              </a:ext>
            </a:extLst>
          </p:cNvPr>
          <p:cNvCxnSpPr>
            <a:cxnSpLocks/>
          </p:cNvCxnSpPr>
          <p:nvPr userDrawn="1"/>
        </p:nvCxnSpPr>
        <p:spPr>
          <a:xfrm>
            <a:off x="399888" y="918324"/>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544594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olo 2 righe">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1847832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testo 5">
            <a:extLst>
              <a:ext uri="{FF2B5EF4-FFF2-40B4-BE49-F238E27FC236}">
                <a16:creationId xmlns:a16="http://schemas.microsoft.com/office/drawing/2014/main" id="{F43C7B1A-5D74-4852-8F13-DA3E8B3373DB}"/>
              </a:ext>
            </a:extLst>
          </p:cNvPr>
          <p:cNvSpPr>
            <a:spLocks noGrp="1"/>
          </p:cNvSpPr>
          <p:nvPr>
            <p:ph type="body" sz="quarter" idx="10"/>
          </p:nvPr>
        </p:nvSpPr>
        <p:spPr>
          <a:xfrm>
            <a:off x="2206693" y="6311555"/>
            <a:ext cx="8488363" cy="277812"/>
          </a:xfrm>
          <a:prstGeom prst="rect">
            <a:avLst/>
          </a:prstGeom>
        </p:spPr>
        <p:txBody>
          <a:bodyPr/>
          <a:lstStyle>
            <a:lvl1pPr marL="0" indent="0">
              <a:buNone/>
              <a:defRPr sz="1200">
                <a:solidFill>
                  <a:schemeClr val="bg1">
                    <a:lumMod val="50000"/>
                  </a:schemeClr>
                </a:solidFill>
              </a:defRPr>
            </a:lvl1pPr>
          </a:lstStyle>
          <a:p>
            <a:pPr lvl="0"/>
            <a:endParaRPr lang="en-US"/>
          </a:p>
        </p:txBody>
      </p:sp>
    </p:spTree>
    <p:extLst>
      <p:ext uri="{BB962C8B-B14F-4D97-AF65-F5344CB8AC3E}">
        <p14:creationId xmlns:p14="http://schemas.microsoft.com/office/powerpoint/2010/main" val="16769419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iapositiva Numeri">
    <p:spTree>
      <p:nvGrpSpPr>
        <p:cNvPr id="1" name=""/>
        <p:cNvGrpSpPr/>
        <p:nvPr/>
      </p:nvGrpSpPr>
      <p:grpSpPr>
        <a:xfrm>
          <a:off x="0" y="0"/>
          <a:ext cx="0" cy="0"/>
          <a:chOff x="0" y="0"/>
          <a:chExt cx="0" cy="0"/>
        </a:xfrm>
      </p:grpSpPr>
      <p:sp>
        <p:nvSpPr>
          <p:cNvPr id="6" name="Titolo 4"/>
          <p:cNvSpPr>
            <a:spLocks noGrp="1"/>
          </p:cNvSpPr>
          <p:nvPr>
            <p:ph type="title"/>
          </p:nvPr>
        </p:nvSpPr>
        <p:spPr>
          <a:xfrm>
            <a:off x="403315" y="365126"/>
            <a:ext cx="10932268"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15" name="Segnaposto testo 14"/>
          <p:cNvSpPr>
            <a:spLocks noGrp="1"/>
          </p:cNvSpPr>
          <p:nvPr>
            <p:ph type="body" sz="quarter" idx="10"/>
          </p:nvPr>
        </p:nvSpPr>
        <p:spPr>
          <a:xfrm>
            <a:off x="399889" y="1311248"/>
            <a:ext cx="10515600" cy="4351338"/>
          </a:xfrm>
          <a:prstGeom prst="rect">
            <a:avLst/>
          </a:prstGeom>
        </p:spPr>
        <p:txBody>
          <a:bodyPr vert="horz" lIns="91440" tIns="45720" rIns="91440" bIns="45720" rtlCol="0">
            <a:normAutofit/>
          </a:bodyPr>
          <a:lstStyle>
            <a:lvl1pPr marL="355604" indent="-355604" algn="l" rtl="0" eaLnBrk="0" fontAlgn="base" hangingPunct="0">
              <a:spcBef>
                <a:spcPct val="50000"/>
              </a:spcBef>
              <a:spcAft>
                <a:spcPct val="0"/>
              </a:spcAft>
              <a:buClr>
                <a:srgbClr val="FF6600"/>
              </a:buClr>
              <a:buSzPct val="105000"/>
              <a:buFont typeface="Arial" panose="020B0604020202020204" pitchFamily="34" charset="0"/>
              <a:buChar char="•"/>
              <a:defRPr sz="1900">
                <a:solidFill>
                  <a:srgbClr val="003A80"/>
                </a:solidFill>
                <a:latin typeface="Source Sans Pro SemiBold" panose="020B0603030403020204" pitchFamily="34" charset="0"/>
                <a:ea typeface="Source Sans Pro SemiBold" panose="020B0603030403020204" pitchFamily="34" charset="0"/>
                <a:cs typeface="+mn-cs"/>
              </a:defRPr>
            </a:lvl1pPr>
            <a:lvl2pPr marL="723909" indent="-379418" algn="l" rtl="0" eaLnBrk="0" fontAlgn="base" hangingPunct="0">
              <a:spcBef>
                <a:spcPct val="50000"/>
              </a:spcBef>
              <a:spcAft>
                <a:spcPct val="0"/>
              </a:spcAft>
              <a:buClr>
                <a:srgbClr val="FF6600"/>
              </a:buClr>
              <a:buSzPct val="70000"/>
              <a:buFont typeface="Courier New" panose="02070309020205020404" pitchFamily="49" charset="0"/>
              <a:buChar char="o"/>
              <a:defRPr sz="1900">
                <a:solidFill>
                  <a:srgbClr val="003A80"/>
                </a:solidFill>
                <a:latin typeface="Source Sans Pro SemiBold" panose="020B0603030403020204" pitchFamily="34" charset="0"/>
                <a:ea typeface="Source Sans Pro SemiBold" panose="020B0603030403020204" pitchFamily="34" charset="0"/>
              </a:defRPr>
            </a:lvl2pPr>
            <a:lvl3pPr marL="1079514" indent="-355604" algn="l" rtl="0" eaLnBrk="0" fontAlgn="base" hangingPunct="0">
              <a:spcBef>
                <a:spcPct val="50000"/>
              </a:spcBef>
              <a:spcAft>
                <a:spcPct val="0"/>
              </a:spcAft>
              <a:buClr>
                <a:srgbClr val="F47B20"/>
              </a:buClr>
              <a:buSzPct val="80000"/>
              <a:buFont typeface="Source Sans Pro SemiBold" panose="020B0603030403020204" pitchFamily="34" charset="0"/>
              <a:buChar char="-"/>
              <a:defRPr sz="1900">
                <a:solidFill>
                  <a:srgbClr val="003A80"/>
                </a:solidFill>
                <a:latin typeface="Source Sans Pro SemiBold" panose="020B0603030403020204" pitchFamily="34" charset="0"/>
                <a:ea typeface="Source Sans Pro SemiBold" panose="020B0603030403020204" pitchFamily="34" charset="0"/>
              </a:defRPr>
            </a:lvl3pPr>
            <a:lvl4pPr marL="1874861" indent="-349254" algn="l" rtl="0" eaLnBrk="0" fontAlgn="base" hangingPunct="0">
              <a:spcBef>
                <a:spcPct val="50000"/>
              </a:spcBef>
              <a:spcAft>
                <a:spcPct val="0"/>
              </a:spcAft>
              <a:buClr>
                <a:srgbClr val="16165D"/>
              </a:buClr>
              <a:buSzPct val="105000"/>
              <a:buFont typeface="Arial" panose="020B0604020202020204" pitchFamily="34" charset="0"/>
              <a:buChar char="•"/>
              <a:defRPr sz="1900">
                <a:solidFill>
                  <a:srgbClr val="003A80"/>
                </a:solidFill>
                <a:latin typeface="Source Sans Pro SemiBold" panose="020B0603030403020204" pitchFamily="34" charset="0"/>
                <a:ea typeface="Source Sans Pro SemiBold" panose="020B0603030403020204" pitchFamily="34" charset="0"/>
              </a:defRPr>
            </a:lvl4pPr>
            <a:lvl5pPr marL="2543207" indent="-339729" algn="l" rtl="0" eaLnBrk="0" fontAlgn="base" hangingPunct="0">
              <a:spcBef>
                <a:spcPct val="20000"/>
              </a:spcBef>
              <a:spcAft>
                <a:spcPct val="0"/>
              </a:spcAft>
              <a:buClr>
                <a:srgbClr val="16165D"/>
              </a:buClr>
              <a:buSzPct val="120000"/>
              <a:buFont typeface="Arial" panose="020B0604020202020204" pitchFamily="34" charset="0"/>
              <a:buChar char="•"/>
              <a:defRPr sz="2400">
                <a:solidFill>
                  <a:srgbClr val="003A80"/>
                </a:solidFill>
                <a:latin typeface="Source Sans Pro SemiBold" panose="020B0603030403020204" pitchFamily="34" charset="0"/>
                <a:ea typeface="Source Sans Pro SemiBold" panose="020B0603030403020204" pitchFamily="34" charset="0"/>
              </a:defRPr>
            </a:lvl5pPr>
            <a:lvl6pPr marL="3095009" indent="-281365" algn="l" rtl="0" fontAlgn="base">
              <a:spcBef>
                <a:spcPct val="20000"/>
              </a:spcBef>
              <a:spcAft>
                <a:spcPct val="0"/>
              </a:spcAft>
              <a:buChar char="»"/>
              <a:defRPr sz="2462">
                <a:solidFill>
                  <a:schemeClr val="tx1"/>
                </a:solidFill>
                <a:latin typeface="Times New Roman" pitchFamily="18" charset="0"/>
              </a:defRPr>
            </a:lvl6pPr>
            <a:lvl7pPr marL="3657736" indent="-281365" algn="l" rtl="0" fontAlgn="base">
              <a:spcBef>
                <a:spcPct val="20000"/>
              </a:spcBef>
              <a:spcAft>
                <a:spcPct val="0"/>
              </a:spcAft>
              <a:buChar char="»"/>
              <a:defRPr sz="2462">
                <a:solidFill>
                  <a:schemeClr val="tx1"/>
                </a:solidFill>
                <a:latin typeface="Times New Roman" pitchFamily="18" charset="0"/>
              </a:defRPr>
            </a:lvl7pPr>
            <a:lvl8pPr marL="4220465" indent="-281365" algn="l" rtl="0" fontAlgn="base">
              <a:spcBef>
                <a:spcPct val="20000"/>
              </a:spcBef>
              <a:spcAft>
                <a:spcPct val="0"/>
              </a:spcAft>
              <a:buChar char="»"/>
              <a:defRPr sz="2462">
                <a:solidFill>
                  <a:schemeClr val="tx1"/>
                </a:solidFill>
                <a:latin typeface="Times New Roman" pitchFamily="18" charset="0"/>
              </a:defRPr>
            </a:lvl8pPr>
            <a:lvl9pPr marL="4783194" indent="-281365" algn="l" rtl="0" fontAlgn="base">
              <a:spcBef>
                <a:spcPct val="20000"/>
              </a:spcBef>
              <a:spcAft>
                <a:spcPct val="0"/>
              </a:spcAft>
              <a:buChar char="»"/>
              <a:defRPr sz="2462">
                <a:solidFill>
                  <a:schemeClr val="tx1"/>
                </a:solidFill>
                <a:latin typeface="Times New Roman" pitchFamily="18" charset="0"/>
              </a:defRPr>
            </a:lvl9pPr>
          </a:lstStyle>
          <a:p>
            <a:r>
              <a:rPr lang="it-IT"/>
              <a:t>Fare clic per modificare gli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19769265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sp>
        <p:nvSpPr>
          <p:cNvPr id="9"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spTree>
    <p:extLst>
      <p:ext uri="{BB962C8B-B14F-4D97-AF65-F5344CB8AC3E}">
        <p14:creationId xmlns:p14="http://schemas.microsoft.com/office/powerpoint/2010/main" val="7227153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sp>
        <p:nvSpPr>
          <p:cNvPr id="9"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11"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cxnSp>
        <p:nvCxnSpPr>
          <p:cNvPr id="4" name="Connettore diritto 3">
            <a:extLst>
              <a:ext uri="{FF2B5EF4-FFF2-40B4-BE49-F238E27FC236}">
                <a16:creationId xmlns:a16="http://schemas.microsoft.com/office/drawing/2014/main" id="{825C28F8-BBEF-40DE-AC54-2BC4793E63D9}"/>
              </a:ext>
            </a:extLst>
          </p:cNvPr>
          <p:cNvCxnSpPr>
            <a:cxnSpLocks/>
          </p:cNvCxnSpPr>
          <p:nvPr userDrawn="1"/>
        </p:nvCxnSpPr>
        <p:spPr>
          <a:xfrm>
            <a:off x="399888" y="918324"/>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254163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Diapositiva titolo">
    <p:spTree>
      <p:nvGrpSpPr>
        <p:cNvPr id="1" name=""/>
        <p:cNvGrpSpPr/>
        <p:nvPr/>
      </p:nvGrpSpPr>
      <p:grpSpPr>
        <a:xfrm>
          <a:off x="0" y="0"/>
          <a:ext cx="0" cy="0"/>
          <a:chOff x="0" y="0"/>
          <a:chExt cx="0" cy="0"/>
        </a:xfrm>
      </p:grpSpPr>
      <p:sp>
        <p:nvSpPr>
          <p:cNvPr id="4"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5"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spTree>
    <p:extLst>
      <p:ext uri="{BB962C8B-B14F-4D97-AF65-F5344CB8AC3E}">
        <p14:creationId xmlns:p14="http://schemas.microsoft.com/office/powerpoint/2010/main" val="37847940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11"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12"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spTree>
    <p:extLst>
      <p:ext uri="{BB962C8B-B14F-4D97-AF65-F5344CB8AC3E}">
        <p14:creationId xmlns:p14="http://schemas.microsoft.com/office/powerpoint/2010/main" val="4078594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etodologia ITA">
    <p:spTree>
      <p:nvGrpSpPr>
        <p:cNvPr id="1" name=""/>
        <p:cNvGrpSpPr/>
        <p:nvPr/>
      </p:nvGrpSpPr>
      <p:grpSpPr>
        <a:xfrm>
          <a:off x="0" y="0"/>
          <a:ext cx="0" cy="0"/>
          <a:chOff x="0" y="0"/>
          <a:chExt cx="0" cy="0"/>
        </a:xfrm>
      </p:grpSpPr>
      <p:pic>
        <p:nvPicPr>
          <p:cNvPr id="4" name="Picture 2" descr="C:\Users\vadorni\Desktop\Nuovo Format\Sintesi.png">
            <a:extLst>
              <a:ext uri="{FF2B5EF4-FFF2-40B4-BE49-F238E27FC236}">
                <a16:creationId xmlns:a16="http://schemas.microsoft.com/office/drawing/2014/main" id="{097C489D-B365-4A63-B8F6-B4DF74BAE6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6549" y="168276"/>
            <a:ext cx="11601451" cy="585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olo 2"/>
          <p:cNvSpPr>
            <a:spLocks noGrp="1"/>
          </p:cNvSpPr>
          <p:nvPr>
            <p:ph type="title" hasCustomPrompt="1"/>
          </p:nvPr>
        </p:nvSpPr>
        <p:spPr>
          <a:xfrm>
            <a:off x="496956" y="802446"/>
            <a:ext cx="11280914" cy="553199"/>
          </a:xfrm>
          <a:prstGeom prst="rect">
            <a:avLst/>
          </a:prstGeom>
          <a:noFill/>
          <a:ln>
            <a:noFill/>
          </a:ln>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pPr lvl="0"/>
            <a:r>
              <a:rPr lang="it-IT" noProof="0"/>
              <a:t>Fare clic per modificare lo stile del titolo del</a:t>
            </a:r>
            <a:br>
              <a:rPr lang="it-IT" noProof="0"/>
            </a:br>
            <a:r>
              <a:rPr lang="it-IT" noProof="0"/>
              <a:t>lo schema</a:t>
            </a:r>
          </a:p>
        </p:txBody>
      </p:sp>
      <p:sp>
        <p:nvSpPr>
          <p:cNvPr id="5" name="Segnaposto contenuto 5">
            <a:extLst>
              <a:ext uri="{FF2B5EF4-FFF2-40B4-BE49-F238E27FC236}">
                <a16:creationId xmlns:a16="http://schemas.microsoft.com/office/drawing/2014/main" id="{E03CB189-36A0-410B-9D61-075B30C14D42}"/>
              </a:ext>
            </a:extLst>
          </p:cNvPr>
          <p:cNvSpPr>
            <a:spLocks noGrp="1"/>
          </p:cNvSpPr>
          <p:nvPr>
            <p:ph sz="quarter" idx="11"/>
          </p:nvPr>
        </p:nvSpPr>
        <p:spPr>
          <a:xfrm>
            <a:off x="496958" y="1625600"/>
            <a:ext cx="11290764" cy="4238488"/>
          </a:xfrm>
          <a:prstGeom prst="rect">
            <a:avLst/>
          </a:prstGeom>
        </p:spPr>
        <p:txBody>
          <a:bodyPr/>
          <a:lstStyle>
            <a:lvl1pPr marL="357192" indent="-357192">
              <a:buClr>
                <a:srgbClr val="F47B20"/>
              </a:buClr>
              <a:buFont typeface="Arial" panose="020B0604020202020204" pitchFamily="34" charset="0"/>
              <a:buChar char="•"/>
              <a:defRPr sz="1801">
                <a:solidFill>
                  <a:srgbClr val="001E60"/>
                </a:solidFill>
              </a:defRPr>
            </a:lvl1pPr>
            <a:lvl2pPr marL="715972" indent="-358780">
              <a:buClr>
                <a:srgbClr val="F47B20"/>
              </a:buClr>
              <a:buSzPct val="70000"/>
              <a:buFont typeface="Courier New" panose="02070309020205020404" pitchFamily="49" charset="0"/>
              <a:buChar char="o"/>
              <a:defRPr sz="1801">
                <a:solidFill>
                  <a:srgbClr val="001E60"/>
                </a:solidFill>
              </a:defRPr>
            </a:lvl2pPr>
            <a:lvl3pPr marL="1073164" indent="-357192">
              <a:buClr>
                <a:srgbClr val="F47B20"/>
              </a:buClr>
              <a:buFont typeface="Wingdings" panose="05000000000000000000" pitchFamily="2" charset="2"/>
              <a:buChar char="§"/>
              <a:defRPr sz="1801">
                <a:solidFill>
                  <a:srgbClr val="001E60"/>
                </a:solidFill>
              </a:defRPr>
            </a:lvl3pPr>
            <a:lvl4pPr marL="1431943" indent="-358780">
              <a:buClr>
                <a:srgbClr val="F47B20"/>
              </a:buClr>
              <a:buSzPct val="50000"/>
              <a:buFont typeface="Wingdings" panose="05000000000000000000" pitchFamily="2" charset="2"/>
              <a:buChar char="q"/>
              <a:defRPr sz="1801">
                <a:solidFill>
                  <a:srgbClr val="001E60"/>
                </a:solidFill>
              </a:defRPr>
            </a:lvl4pPr>
            <a:lvl5pPr marL="1789135" indent="-357192">
              <a:buClr>
                <a:srgbClr val="F47B20"/>
              </a:buClr>
              <a:buFont typeface="Source Sans Pro" panose="020B0503030403020204" pitchFamily="34" charset="0"/>
              <a:buChar char="−"/>
              <a:defRPr sz="1801">
                <a:solidFill>
                  <a:srgbClr val="001E60"/>
                </a:solidFill>
              </a:defRPr>
            </a:lvl5pPr>
          </a:lstStyle>
          <a:p>
            <a:pPr lvl="0"/>
            <a:r>
              <a:rPr lang="en-US" noProof="0"/>
              <a:t>Fare clic per modificare gli stili del testo dello schema</a:t>
            </a:r>
          </a:p>
          <a:p>
            <a:pPr lvl="1"/>
            <a:r>
              <a:rPr lang="en-US" noProof="0"/>
              <a:t>Secondo livello</a:t>
            </a:r>
          </a:p>
          <a:p>
            <a:pPr lvl="2"/>
            <a:r>
              <a:rPr lang="en-US" noProof="0"/>
              <a:t>Terzo livello</a:t>
            </a:r>
          </a:p>
          <a:p>
            <a:pPr lvl="3"/>
            <a:r>
              <a:rPr lang="en-US" noProof="0"/>
              <a:t>Quarto livello</a:t>
            </a:r>
          </a:p>
          <a:p>
            <a:pPr lvl="4"/>
            <a:r>
              <a:rPr lang="en-US" noProof="0"/>
              <a:t>Quinto livello</a:t>
            </a:r>
          </a:p>
        </p:txBody>
      </p:sp>
    </p:spTree>
    <p:extLst>
      <p:ext uri="{BB962C8B-B14F-4D97-AF65-F5344CB8AC3E}">
        <p14:creationId xmlns:p14="http://schemas.microsoft.com/office/powerpoint/2010/main" val="24512536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testazione sezion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64124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pic>
        <p:nvPicPr>
          <p:cNvPr id="15" name="Immagin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pic>
        <p:nvPicPr>
          <p:cNvPr id="16" name="Immagin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1533" y="6259579"/>
            <a:ext cx="1573915" cy="361820"/>
          </a:xfrm>
          <a:prstGeom prst="rect">
            <a:avLst/>
          </a:prstGeom>
        </p:spPr>
      </p:pic>
      <p:sp>
        <p:nvSpPr>
          <p:cNvPr id="17"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1" i="0" baseline="0" smtClean="0">
                <a:solidFill>
                  <a:srgbClr val="F47B20"/>
                </a:solidFill>
                <a:latin typeface="Red Hat Display"/>
              </a:rPr>
              <a:pPr algn="ctr" eaLnBrk="1" hangingPunct="1"/>
              <a:t>‹N›</a:t>
            </a:fld>
            <a:endParaRPr lang="it-IT" sz="1001" b="1" i="0" baseline="0">
              <a:solidFill>
                <a:srgbClr val="F47B20"/>
              </a:solidFill>
              <a:latin typeface="Red Hat Display"/>
            </a:endParaRPr>
          </a:p>
        </p:txBody>
      </p:sp>
    </p:spTree>
    <p:extLst>
      <p:ext uri="{BB962C8B-B14F-4D97-AF65-F5344CB8AC3E}">
        <p14:creationId xmlns:p14="http://schemas.microsoft.com/office/powerpoint/2010/main" val="40898732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fronto">
    <p:spTree>
      <p:nvGrpSpPr>
        <p:cNvPr id="1" name=""/>
        <p:cNvGrpSpPr/>
        <p:nvPr/>
      </p:nvGrpSpPr>
      <p:grpSpPr>
        <a:xfrm>
          <a:off x="0" y="0"/>
          <a:ext cx="0" cy="0"/>
          <a:chOff x="0" y="0"/>
          <a:chExt cx="0" cy="0"/>
        </a:xfrm>
      </p:grpSpPr>
      <p:pic>
        <p:nvPicPr>
          <p:cNvPr id="10" name="Immagin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pic>
        <p:nvPicPr>
          <p:cNvPr id="11" name="Immagin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1533" y="6259579"/>
            <a:ext cx="1573915" cy="361820"/>
          </a:xfrm>
          <a:prstGeom prst="rect">
            <a:avLst/>
          </a:prstGeom>
        </p:spPr>
      </p:pic>
      <p:sp>
        <p:nvSpPr>
          <p:cNvPr id="12"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1" i="0" baseline="0" smtClean="0">
                <a:solidFill>
                  <a:srgbClr val="F47B20"/>
                </a:solidFill>
                <a:latin typeface="Red Hat Display"/>
              </a:rPr>
              <a:pPr algn="ctr" eaLnBrk="1" hangingPunct="1"/>
              <a:t>‹N›</a:t>
            </a:fld>
            <a:endParaRPr lang="it-IT" sz="1001" b="1" i="0" baseline="0">
              <a:solidFill>
                <a:srgbClr val="F47B20"/>
              </a:solidFill>
              <a:latin typeface="Red Hat Display"/>
            </a:endParaRPr>
          </a:p>
        </p:txBody>
      </p:sp>
    </p:spTree>
    <p:extLst>
      <p:ext uri="{BB962C8B-B14F-4D97-AF65-F5344CB8AC3E}">
        <p14:creationId xmlns:p14="http://schemas.microsoft.com/office/powerpoint/2010/main" val="35763295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pic>
        <p:nvPicPr>
          <p:cNvPr id="6" name="Immagin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pic>
        <p:nvPicPr>
          <p:cNvPr id="7" name="Immagin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1533" y="6259579"/>
            <a:ext cx="1573915" cy="361820"/>
          </a:xfrm>
          <a:prstGeom prst="rect">
            <a:avLst/>
          </a:prstGeom>
        </p:spPr>
      </p:pic>
      <p:sp>
        <p:nvSpPr>
          <p:cNvPr id="8"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1" i="0" baseline="0" smtClean="0">
                <a:solidFill>
                  <a:srgbClr val="F47B20"/>
                </a:solidFill>
                <a:latin typeface="Red Hat Display"/>
              </a:rPr>
              <a:pPr algn="ctr" eaLnBrk="1" hangingPunct="1"/>
              <a:t>‹N›</a:t>
            </a:fld>
            <a:endParaRPr lang="it-IT" sz="1001" b="1" i="0" baseline="0">
              <a:solidFill>
                <a:srgbClr val="F47B20"/>
              </a:solidFill>
              <a:latin typeface="Red Hat Display"/>
            </a:endParaRPr>
          </a:p>
        </p:txBody>
      </p:sp>
    </p:spTree>
    <p:extLst>
      <p:ext uri="{BB962C8B-B14F-4D97-AF65-F5344CB8AC3E}">
        <p14:creationId xmlns:p14="http://schemas.microsoft.com/office/powerpoint/2010/main" val="4720350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iapositiva Sommario">
    <p:spTree>
      <p:nvGrpSpPr>
        <p:cNvPr id="1" name=""/>
        <p:cNvGrpSpPr/>
        <p:nvPr/>
      </p:nvGrpSpPr>
      <p:grpSpPr>
        <a:xfrm>
          <a:off x="0" y="0"/>
          <a:ext cx="0" cy="0"/>
          <a:chOff x="0" y="0"/>
          <a:chExt cx="0" cy="0"/>
        </a:xfrm>
      </p:grpSpPr>
      <p:pic>
        <p:nvPicPr>
          <p:cNvPr id="4" name="Picture 2" descr="C:\Users\vadorni\Desktop\Nuovo Format\Sintesi.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6064" y="168278"/>
            <a:ext cx="11601938" cy="621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olo 2"/>
          <p:cNvSpPr>
            <a:spLocks noGrp="1"/>
          </p:cNvSpPr>
          <p:nvPr>
            <p:ph type="title"/>
          </p:nvPr>
        </p:nvSpPr>
        <p:spPr>
          <a:xfrm>
            <a:off x="441572" y="692154"/>
            <a:ext cx="11326446" cy="720725"/>
          </a:xfrm>
          <a:noFill/>
          <a:ln>
            <a:noFill/>
          </a:ln>
        </p:spPr>
        <p:txBody>
          <a:bodyPr/>
          <a:lstStyle>
            <a:lvl1pPr>
              <a:defRPr b="0" kern="1200" baseline="0" dirty="0">
                <a:solidFill>
                  <a:srgbClr val="EA651D"/>
                </a:solidFill>
                <a:latin typeface="Tahoma" pitchFamily="34" charset="0"/>
                <a:ea typeface="+mn-ea"/>
                <a:cs typeface="+mn-cs"/>
              </a:defRPr>
            </a:lvl1pPr>
          </a:lstStyle>
          <a:p>
            <a:pPr lvl="0"/>
            <a:r>
              <a:rPr lang="it-IT"/>
              <a:t>Fare clic per modificare stile</a:t>
            </a:r>
            <a:endParaRPr/>
          </a:p>
        </p:txBody>
      </p:sp>
      <p:sp>
        <p:nvSpPr>
          <p:cNvPr id="7" name="Segnaposto testo 10"/>
          <p:cNvSpPr>
            <a:spLocks noGrp="1"/>
          </p:cNvSpPr>
          <p:nvPr>
            <p:ph type="body" sz="quarter" idx="11"/>
          </p:nvPr>
        </p:nvSpPr>
        <p:spPr>
          <a:xfrm>
            <a:off x="449590" y="1556792"/>
            <a:ext cx="11318427" cy="4032448"/>
          </a:xfrm>
          <a:prstGeom prst="rect">
            <a:avLst/>
          </a:prstGeom>
        </p:spPr>
        <p:txBody>
          <a:bodyPr/>
          <a:lstStyle>
            <a:lvl1pPr>
              <a:buFontTx/>
              <a:buBlip>
                <a:blip r:embed="rId3"/>
              </a:buBlip>
              <a:defRPr sz="2215" baseline="0">
                <a:solidFill>
                  <a:srgbClr val="003A80"/>
                </a:solidFill>
              </a:defRPr>
            </a:lvl1pPr>
            <a:lvl2pPr>
              <a:buFont typeface="Arial" pitchFamily="34" charset="0"/>
              <a:buNone/>
              <a:defRPr sz="2215"/>
            </a:lvl2pPr>
            <a:lvl3pPr>
              <a:defRPr sz="2215"/>
            </a:lvl3pPr>
            <a:lvl4pPr>
              <a:defRPr sz="2215"/>
            </a:lvl4pPr>
            <a:lvl5pPr>
              <a:defRPr sz="2215"/>
            </a:lvl5pPr>
          </a:lstStyle>
          <a:p>
            <a:pPr lvl="0"/>
            <a:r>
              <a:rPr lang="it-IT"/>
              <a:t>Fare clic per modificare stili del testo dello schema</a:t>
            </a:r>
          </a:p>
          <a:p>
            <a:pPr lvl="0"/>
            <a:endParaRPr lang="it-IT"/>
          </a:p>
        </p:txBody>
      </p:sp>
    </p:spTree>
    <p:extLst>
      <p:ext uri="{BB962C8B-B14F-4D97-AF65-F5344CB8AC3E}">
        <p14:creationId xmlns:p14="http://schemas.microsoft.com/office/powerpoint/2010/main" val="3622098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2709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OLO+TESTO MEDIO LUNG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A1825A3-58F0-4043-960D-4FC358C1F42F}"/>
              </a:ext>
            </a:extLst>
          </p:cNvPr>
          <p:cNvSpPr>
            <a:spLocks noGrp="1"/>
          </p:cNvSpPr>
          <p:nvPr>
            <p:ph type="title" hasCustomPrompt="1"/>
          </p:nvPr>
        </p:nvSpPr>
        <p:spPr>
          <a:xfrm>
            <a:off x="254524" y="986473"/>
            <a:ext cx="11505675" cy="691499"/>
          </a:xfrm>
          <a:prstGeom prst="rect">
            <a:avLst/>
          </a:prstGeom>
        </p:spPr>
        <p:txBody>
          <a:bodyPr/>
          <a:lstStyle>
            <a:lvl1pPr>
              <a:defRPr>
                <a:solidFill>
                  <a:srgbClr val="00466F"/>
                </a:solidFill>
                <a:latin typeface="Tamigos" pitchFamily="50" charset="0"/>
              </a:defRPr>
            </a:lvl1pPr>
          </a:lstStyle>
          <a:p>
            <a:r>
              <a:rPr lang="it-IT"/>
              <a:t>FARE CLIC PER MODIFICARE LO</a:t>
            </a:r>
          </a:p>
        </p:txBody>
      </p:sp>
      <p:sp>
        <p:nvSpPr>
          <p:cNvPr id="3" name="Segnaposto contenuto 2">
            <a:extLst>
              <a:ext uri="{FF2B5EF4-FFF2-40B4-BE49-F238E27FC236}">
                <a16:creationId xmlns:a16="http://schemas.microsoft.com/office/drawing/2014/main" id="{D03D99E8-AAB7-7045-A551-C15D512265DF}"/>
              </a:ext>
            </a:extLst>
          </p:cNvPr>
          <p:cNvSpPr>
            <a:spLocks noGrp="1"/>
          </p:cNvSpPr>
          <p:nvPr>
            <p:ph idx="1"/>
          </p:nvPr>
        </p:nvSpPr>
        <p:spPr>
          <a:xfrm>
            <a:off x="330485" y="1828799"/>
            <a:ext cx="11429714" cy="4232636"/>
          </a:xfrm>
          <a:prstGeom prst="rect">
            <a:avLst/>
          </a:prstGeom>
        </p:spPr>
        <p:txBody>
          <a:bodyPr/>
          <a:lstStyle>
            <a:lvl1pPr>
              <a:lnSpc>
                <a:spcPct val="100000"/>
              </a:lnSpc>
              <a:defRPr sz="1300" b="0" i="0">
                <a:solidFill>
                  <a:srgbClr val="00466F"/>
                </a:solidFill>
                <a:latin typeface="Futura PT Light" panose="020B0402020204020303" pitchFamily="34" charset="77"/>
              </a:defRPr>
            </a:lvl1pPr>
            <a:lvl2pPr>
              <a:lnSpc>
                <a:spcPct val="100000"/>
              </a:lnSpc>
              <a:defRPr sz="1300" b="0" i="0">
                <a:solidFill>
                  <a:srgbClr val="00466F"/>
                </a:solidFill>
                <a:latin typeface="Futura PT Light" panose="020B0402020204020303" pitchFamily="34" charset="77"/>
              </a:defRPr>
            </a:lvl2pPr>
            <a:lvl3pPr>
              <a:lnSpc>
                <a:spcPct val="100000"/>
              </a:lnSpc>
              <a:defRPr sz="1300" b="0" i="0">
                <a:solidFill>
                  <a:srgbClr val="00466F"/>
                </a:solidFill>
                <a:latin typeface="Futura PT Light" panose="020B0402020204020303" pitchFamily="34" charset="77"/>
              </a:defRPr>
            </a:lvl3pPr>
            <a:lvl4pPr>
              <a:lnSpc>
                <a:spcPct val="100000"/>
              </a:lnSpc>
              <a:defRPr sz="1300" b="0" i="0">
                <a:solidFill>
                  <a:srgbClr val="00466F"/>
                </a:solidFill>
                <a:latin typeface="Futura PT Light" panose="020B0402020204020303" pitchFamily="34" charset="77"/>
              </a:defRPr>
            </a:lvl4pPr>
            <a:lvl5pPr>
              <a:lnSpc>
                <a:spcPct val="100000"/>
              </a:lnSpc>
              <a:defRPr sz="1300" b="0" i="0">
                <a:solidFill>
                  <a:srgbClr val="00466F"/>
                </a:solidFill>
                <a:latin typeface="Futura PT Light" panose="020B0402020204020303" pitchFamily="34"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2927139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Layout personalizzato">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94C82428-55DE-4FD0-9741-C26246591EE0}"/>
              </a:ext>
            </a:extLst>
          </p:cNvPr>
          <p:cNvGraphicFramePr>
            <a:graphicFrameLocks noChangeAspect="1"/>
          </p:cNvGraphicFramePr>
          <p:nvPr userDrawn="1">
            <p:custDataLst>
              <p:tags r:id="rId1"/>
            </p:custDataLst>
            <p:extLst>
              <p:ext uri="{D42A27DB-BD31-4B8C-83A1-F6EECF244321}">
                <p14:modId xmlns:p14="http://schemas.microsoft.com/office/powerpoint/2010/main" val="108290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94C82428-55DE-4FD0-9741-C26246591E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olo 1">
            <a:extLst>
              <a:ext uri="{FF2B5EF4-FFF2-40B4-BE49-F238E27FC236}">
                <a16:creationId xmlns:a16="http://schemas.microsoft.com/office/drawing/2014/main" id="{C2BA107F-013F-4A8B-A41A-1FAC206EA0E0}"/>
              </a:ext>
            </a:extLst>
          </p:cNvPr>
          <p:cNvSpPr>
            <a:spLocks noGrp="1"/>
          </p:cNvSpPr>
          <p:nvPr>
            <p:ph type="title"/>
          </p:nvPr>
        </p:nvSpPr>
        <p:spPr>
          <a:xfrm>
            <a:off x="419896" y="0"/>
            <a:ext cx="11352212" cy="914400"/>
          </a:xfrm>
          <a:prstGeom prst="rect">
            <a:avLst/>
          </a:prstGeom>
        </p:spPr>
        <p:txBody>
          <a:bodyPr vert="horz"/>
          <a:lstStyle>
            <a:lvl1pPr>
              <a:defRPr sz="2800">
                <a:solidFill>
                  <a:srgbClr val="F47B20"/>
                </a:solidFill>
                <a:latin typeface="Source Sans Pro SemiBold" panose="020B0603030403020204" pitchFamily="34" charset="0"/>
                <a:ea typeface="Source Sans Pro SemiBold" panose="020B0603030403020204" pitchFamily="34" charset="0"/>
              </a:defRPr>
            </a:lvl1pPr>
          </a:lstStyle>
          <a:p>
            <a:r>
              <a:rPr lang="it-IT"/>
              <a:t>Fare clic per modificare lo stile del titolo dello schema</a:t>
            </a:r>
          </a:p>
        </p:txBody>
      </p:sp>
      <p:sp>
        <p:nvSpPr>
          <p:cNvPr id="2" name="Segnaposto contenuto 9">
            <a:extLst>
              <a:ext uri="{FF2B5EF4-FFF2-40B4-BE49-F238E27FC236}">
                <a16:creationId xmlns:a16="http://schemas.microsoft.com/office/drawing/2014/main" id="{E06E4AC1-D9FD-47D4-4E92-F072BC43848C}"/>
              </a:ext>
            </a:extLst>
          </p:cNvPr>
          <p:cNvSpPr>
            <a:spLocks noGrp="1"/>
          </p:cNvSpPr>
          <p:nvPr>
            <p:ph sz="quarter" idx="11" hasCustomPrompt="1"/>
          </p:nvPr>
        </p:nvSpPr>
        <p:spPr>
          <a:xfrm>
            <a:off x="407989" y="1249364"/>
            <a:ext cx="11233678" cy="2276475"/>
          </a:xfrm>
          <a:prstGeom prst="rect">
            <a:avLst/>
          </a:prstGeom>
        </p:spPr>
        <p:txBody>
          <a:bodyPr/>
          <a:lstStyle>
            <a:lvl1pPr marL="357192" indent="-357192">
              <a:buClr>
                <a:srgbClr val="F47B20"/>
              </a:buClr>
              <a:buFont typeface="Arial" panose="020B0604020202020204" pitchFamily="34" charset="0"/>
              <a:buChar char="•"/>
              <a:defRPr sz="2000">
                <a:solidFill>
                  <a:srgbClr val="001E60"/>
                </a:solidFill>
                <a:latin typeface="Source Sans Pro" panose="020B0503030403020204" pitchFamily="34" charset="0"/>
                <a:ea typeface="Source Sans Pro" panose="020B0503030403020204" pitchFamily="34" charset="0"/>
              </a:defRPr>
            </a:lvl1pPr>
            <a:lvl2pPr marL="715972" indent="-358780">
              <a:buClr>
                <a:srgbClr val="F47B20"/>
              </a:buClr>
              <a:buSzPct val="80000"/>
              <a:buFont typeface="Courier New" panose="02070309020205020404" pitchFamily="49" charset="0"/>
              <a:buChar char="o"/>
              <a:defRPr sz="2000">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err="1"/>
              <a:t>rgdgd</a:t>
            </a:r>
            <a:endParaRPr lang="it-IT"/>
          </a:p>
          <a:p>
            <a:pPr lvl="1"/>
            <a:endParaRPr lang="it-IT"/>
          </a:p>
        </p:txBody>
      </p:sp>
    </p:spTree>
    <p:extLst>
      <p:ext uri="{BB962C8B-B14F-4D97-AF65-F5344CB8AC3E}">
        <p14:creationId xmlns:p14="http://schemas.microsoft.com/office/powerpoint/2010/main" val="22097657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ullet ITA">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6261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5" name="Segnaposto testo 5">
            <a:extLst>
              <a:ext uri="{FF2B5EF4-FFF2-40B4-BE49-F238E27FC236}">
                <a16:creationId xmlns:a16="http://schemas.microsoft.com/office/drawing/2014/main" id="{004B5E75-9EA3-4549-AEDA-BA091BFEA31B}"/>
              </a:ext>
            </a:extLst>
          </p:cNvPr>
          <p:cNvSpPr>
            <a:spLocks noGrp="1"/>
          </p:cNvSpPr>
          <p:nvPr>
            <p:ph type="body" sz="quarter" idx="10"/>
          </p:nvPr>
        </p:nvSpPr>
        <p:spPr>
          <a:xfrm>
            <a:off x="2206693" y="6311555"/>
            <a:ext cx="8488363" cy="277812"/>
          </a:xfrm>
          <a:prstGeom prst="rect">
            <a:avLst/>
          </a:prstGeom>
        </p:spPr>
        <p:txBody>
          <a:bodyPr/>
          <a:lstStyle>
            <a:lvl1pPr marL="0" indent="0">
              <a:buNone/>
              <a:defRPr sz="1200">
                <a:solidFill>
                  <a:schemeClr val="bg1">
                    <a:lumMod val="50000"/>
                  </a:schemeClr>
                </a:solidFill>
              </a:defRPr>
            </a:lvl1pPr>
          </a:lstStyle>
          <a:p>
            <a:pPr lvl="0"/>
            <a:endParaRPr lang="en-US"/>
          </a:p>
        </p:txBody>
      </p:sp>
      <p:sp>
        <p:nvSpPr>
          <p:cNvPr id="6" name="Segnaposto contenuto 5">
            <a:extLst>
              <a:ext uri="{FF2B5EF4-FFF2-40B4-BE49-F238E27FC236}">
                <a16:creationId xmlns:a16="http://schemas.microsoft.com/office/drawing/2014/main" id="{2997CE74-FC52-42EC-BC36-AA81E2E2126A}"/>
              </a:ext>
            </a:extLst>
          </p:cNvPr>
          <p:cNvSpPr>
            <a:spLocks noGrp="1"/>
          </p:cNvSpPr>
          <p:nvPr>
            <p:ph sz="quarter" idx="11"/>
          </p:nvPr>
        </p:nvSpPr>
        <p:spPr>
          <a:xfrm>
            <a:off x="403227" y="1083366"/>
            <a:ext cx="11384494" cy="4780723"/>
          </a:xfrm>
          <a:prstGeom prst="rect">
            <a:avLst/>
          </a:prstGeom>
        </p:spPr>
        <p:txBody>
          <a:bodyPr/>
          <a:lstStyle>
            <a:lvl1pPr marL="357192" indent="-357192">
              <a:buClr>
                <a:srgbClr val="F47B20"/>
              </a:buClr>
              <a:buFont typeface="Wingdings" panose="05000000000000000000" pitchFamily="2" charset="2"/>
              <a:buChar char="§"/>
              <a:defRPr sz="1801">
                <a:solidFill>
                  <a:srgbClr val="001E60"/>
                </a:solidFill>
              </a:defRPr>
            </a:lvl1pPr>
            <a:lvl2pPr marL="715972" indent="-358780">
              <a:buClr>
                <a:srgbClr val="F47B20"/>
              </a:buClr>
              <a:buSzPct val="50000"/>
              <a:buFont typeface="Wingdings" panose="05000000000000000000" pitchFamily="2" charset="2"/>
              <a:buChar char="q"/>
              <a:defRPr sz="1801">
                <a:solidFill>
                  <a:srgbClr val="001E60"/>
                </a:solidFill>
              </a:defRPr>
            </a:lvl2pPr>
            <a:lvl3pPr marL="1073164" indent="-357192">
              <a:buClr>
                <a:srgbClr val="F47B20"/>
              </a:buClr>
              <a:defRPr sz="1801">
                <a:solidFill>
                  <a:srgbClr val="001E60"/>
                </a:solidFill>
              </a:defRPr>
            </a:lvl3pPr>
            <a:lvl4pPr marL="1431943" indent="-358780">
              <a:buClr>
                <a:srgbClr val="F47B20"/>
              </a:buClr>
              <a:buSzPct val="70000"/>
              <a:buFont typeface="Courier New" panose="02070309020205020404" pitchFamily="49" charset="0"/>
              <a:buChar char="o"/>
              <a:defRPr sz="1801">
                <a:solidFill>
                  <a:srgbClr val="001E60"/>
                </a:solidFill>
              </a:defRPr>
            </a:lvl4pPr>
            <a:lvl5pPr marL="1789135" indent="-357192">
              <a:buClr>
                <a:srgbClr val="F47B20"/>
              </a:buClr>
              <a:defRPr sz="1801">
                <a:solidFill>
                  <a:srgbClr val="001E60"/>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Tree>
    <p:extLst>
      <p:ext uri="{BB962C8B-B14F-4D97-AF65-F5344CB8AC3E}">
        <p14:creationId xmlns:p14="http://schemas.microsoft.com/office/powerpoint/2010/main" val="331303172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olo 2 righe">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6261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5" y="0"/>
            <a:ext cx="11392446" cy="90296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Tree>
    <p:extLst>
      <p:ext uri="{BB962C8B-B14F-4D97-AF65-F5344CB8AC3E}">
        <p14:creationId xmlns:p14="http://schemas.microsoft.com/office/powerpoint/2010/main" val="227676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todologia ENG">
    <p:spTree>
      <p:nvGrpSpPr>
        <p:cNvPr id="1" name=""/>
        <p:cNvGrpSpPr/>
        <p:nvPr/>
      </p:nvGrpSpPr>
      <p:grpSpPr>
        <a:xfrm>
          <a:off x="0" y="0"/>
          <a:ext cx="0" cy="0"/>
          <a:chOff x="0" y="0"/>
          <a:chExt cx="0" cy="0"/>
        </a:xfrm>
      </p:grpSpPr>
      <p:pic>
        <p:nvPicPr>
          <p:cNvPr id="4" name="Picture 2" descr="C:\Users\vadorni\Desktop\Nuovo Format\Sintesi.png">
            <a:extLst>
              <a:ext uri="{FF2B5EF4-FFF2-40B4-BE49-F238E27FC236}">
                <a16:creationId xmlns:a16="http://schemas.microsoft.com/office/drawing/2014/main" id="{097C489D-B365-4A63-B8F6-B4DF74BAE6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6549" y="168276"/>
            <a:ext cx="11601451" cy="585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olo 2"/>
          <p:cNvSpPr>
            <a:spLocks noGrp="1"/>
          </p:cNvSpPr>
          <p:nvPr>
            <p:ph type="title" hasCustomPrompt="1"/>
          </p:nvPr>
        </p:nvSpPr>
        <p:spPr>
          <a:xfrm>
            <a:off x="496956" y="802446"/>
            <a:ext cx="11280914" cy="553199"/>
          </a:xfrm>
          <a:prstGeom prst="rect">
            <a:avLst/>
          </a:prstGeom>
          <a:noFill/>
          <a:ln>
            <a:noFill/>
          </a:ln>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pPr lvl="0"/>
            <a:r>
              <a:rPr lang="it-IT" noProof="0"/>
              <a:t>Fare clic per modificare lo stile del titolo del</a:t>
            </a:r>
            <a:br>
              <a:rPr lang="it-IT" noProof="0"/>
            </a:br>
            <a:r>
              <a:rPr lang="it-IT" noProof="0"/>
              <a:t>lo schema</a:t>
            </a:r>
          </a:p>
        </p:txBody>
      </p:sp>
      <p:sp>
        <p:nvSpPr>
          <p:cNvPr id="5" name="Segnaposto contenuto 5">
            <a:extLst>
              <a:ext uri="{FF2B5EF4-FFF2-40B4-BE49-F238E27FC236}">
                <a16:creationId xmlns:a16="http://schemas.microsoft.com/office/drawing/2014/main" id="{E03CB189-36A0-410B-9D61-075B30C14D42}"/>
              </a:ext>
            </a:extLst>
          </p:cNvPr>
          <p:cNvSpPr>
            <a:spLocks noGrp="1"/>
          </p:cNvSpPr>
          <p:nvPr>
            <p:ph sz="quarter" idx="11"/>
          </p:nvPr>
        </p:nvSpPr>
        <p:spPr>
          <a:xfrm>
            <a:off x="496958" y="1625600"/>
            <a:ext cx="11290764" cy="4238488"/>
          </a:xfrm>
          <a:prstGeom prst="rect">
            <a:avLst/>
          </a:prstGeom>
        </p:spPr>
        <p:txBody>
          <a:bodyPr/>
          <a:lstStyle>
            <a:lvl1pPr marL="357192" indent="-357192">
              <a:buClr>
                <a:srgbClr val="F47B20"/>
              </a:buClr>
              <a:buFont typeface="Arial" panose="020B0604020202020204" pitchFamily="34" charset="0"/>
              <a:buChar char="•"/>
              <a:defRPr sz="1801">
                <a:solidFill>
                  <a:srgbClr val="001E60"/>
                </a:solidFill>
              </a:defRPr>
            </a:lvl1pPr>
            <a:lvl2pPr marL="715972" indent="-358780">
              <a:buClr>
                <a:srgbClr val="F47B20"/>
              </a:buClr>
              <a:buSzPct val="70000"/>
              <a:buFont typeface="Courier New" panose="02070309020205020404" pitchFamily="49" charset="0"/>
              <a:buChar char="o"/>
              <a:defRPr sz="1801">
                <a:solidFill>
                  <a:srgbClr val="001E60"/>
                </a:solidFill>
              </a:defRPr>
            </a:lvl2pPr>
            <a:lvl3pPr marL="1073164" indent="-357192">
              <a:buClr>
                <a:srgbClr val="F47B20"/>
              </a:buClr>
              <a:buFont typeface="Wingdings" panose="05000000000000000000" pitchFamily="2" charset="2"/>
              <a:buChar char="§"/>
              <a:defRPr sz="1801">
                <a:solidFill>
                  <a:srgbClr val="001E60"/>
                </a:solidFill>
              </a:defRPr>
            </a:lvl3pPr>
            <a:lvl4pPr marL="1431943" indent="-358780">
              <a:buClr>
                <a:srgbClr val="F47B20"/>
              </a:buClr>
              <a:buSzPct val="50000"/>
              <a:buFont typeface="Wingdings" panose="05000000000000000000" pitchFamily="2" charset="2"/>
              <a:buChar char="q"/>
              <a:defRPr sz="1801">
                <a:solidFill>
                  <a:srgbClr val="001E60"/>
                </a:solidFill>
              </a:defRPr>
            </a:lvl4pPr>
            <a:lvl5pPr marL="1789135" indent="-357192">
              <a:buClr>
                <a:srgbClr val="F47B20"/>
              </a:buClr>
              <a:buFont typeface="Source Sans Pro" panose="020B0503030403020204" pitchFamily="34" charset="0"/>
              <a:buChar char="−"/>
              <a:defRPr sz="1801">
                <a:solidFill>
                  <a:srgbClr val="001E60"/>
                </a:solidFill>
              </a:defRPr>
            </a:lvl5pPr>
          </a:lstStyle>
          <a:p>
            <a:pPr lvl="0"/>
            <a:r>
              <a:rPr lang="en-US" noProof="0"/>
              <a:t>Fare clic per modificare gli stili del testo dello schema</a:t>
            </a:r>
          </a:p>
          <a:p>
            <a:pPr lvl="1"/>
            <a:r>
              <a:rPr lang="en-US" noProof="0"/>
              <a:t>Secondo livello</a:t>
            </a:r>
          </a:p>
          <a:p>
            <a:pPr lvl="2"/>
            <a:r>
              <a:rPr lang="en-US" noProof="0"/>
              <a:t>Terzo livello</a:t>
            </a:r>
          </a:p>
          <a:p>
            <a:pPr lvl="3"/>
            <a:r>
              <a:rPr lang="en-US" noProof="0"/>
              <a:t>Quarto livello</a:t>
            </a:r>
          </a:p>
          <a:p>
            <a:pPr lvl="4"/>
            <a:r>
              <a:rPr lang="en-US" noProof="0"/>
              <a:t>Quinto livello</a:t>
            </a:r>
          </a:p>
        </p:txBody>
      </p:sp>
    </p:spTree>
    <p:extLst>
      <p:ext uri="{BB962C8B-B14F-4D97-AF65-F5344CB8AC3E}">
        <p14:creationId xmlns:p14="http://schemas.microsoft.com/office/powerpoint/2010/main" val="24355499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olo 2 righe">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6261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5" y="0"/>
            <a:ext cx="11392446" cy="90296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3" name="Segnaposto contenuto 9">
            <a:extLst>
              <a:ext uri="{FF2B5EF4-FFF2-40B4-BE49-F238E27FC236}">
                <a16:creationId xmlns:a16="http://schemas.microsoft.com/office/drawing/2014/main" id="{EF548FC1-714E-8D9C-0E96-37F9D598E4A9}"/>
              </a:ext>
            </a:extLst>
          </p:cNvPr>
          <p:cNvSpPr>
            <a:spLocks noGrp="1"/>
          </p:cNvSpPr>
          <p:nvPr>
            <p:ph sz="quarter" idx="11" hasCustomPrompt="1"/>
          </p:nvPr>
        </p:nvSpPr>
        <p:spPr>
          <a:xfrm>
            <a:off x="420372" y="1249364"/>
            <a:ext cx="11221296" cy="2276475"/>
          </a:xfrm>
          <a:prstGeom prst="rect">
            <a:avLst/>
          </a:prstGeom>
        </p:spPr>
        <p:txBody>
          <a:bodyPr/>
          <a:lstStyle>
            <a:lvl1pPr marL="285753" indent="-285753">
              <a:buClr>
                <a:srgbClr val="F47B20"/>
              </a:buClr>
              <a:buFont typeface="Arial" panose="020B0604020202020204" pitchFamily="34" charset="0"/>
              <a:buChar char="•"/>
              <a:defRPr sz="1801">
                <a:solidFill>
                  <a:srgbClr val="001E60"/>
                </a:solidFill>
                <a:latin typeface="Source Sans Pro" panose="020B0503030403020204" pitchFamily="34" charset="0"/>
                <a:ea typeface="Source Sans Pro" panose="020B0503030403020204" pitchFamily="34" charset="0"/>
              </a:defRPr>
            </a:lvl1pPr>
            <a:lvl2pPr marL="685809" indent="-228604">
              <a:buClr>
                <a:srgbClr val="F47B20"/>
              </a:buClr>
              <a:buFont typeface="Arial" panose="020B0604020202020204" pitchFamily="34" charset="0"/>
              <a:buChar char="•"/>
              <a:defRPr sz="1401">
                <a:solidFill>
                  <a:srgbClr val="001E60"/>
                </a:solidFill>
                <a:latin typeface="Source Sans Pro" panose="020B0503030403020204" pitchFamily="34" charset="0"/>
                <a:ea typeface="Source Sans Pro" panose="020B0503030403020204" pitchFamily="34" charset="0"/>
              </a:defRPr>
            </a:lvl2pPr>
            <a:lvl3pPr marL="1143015" indent="-228604">
              <a:buClr>
                <a:srgbClr val="F47B20"/>
              </a:buClr>
              <a:buFont typeface="Arial" panose="020B0604020202020204" pitchFamily="34" charset="0"/>
              <a:buChar char="•"/>
              <a:defRPr sz="1401">
                <a:solidFill>
                  <a:srgbClr val="001E60"/>
                </a:solidFill>
                <a:latin typeface="Source Sans Pro" panose="020B0503030403020204" pitchFamily="34" charset="0"/>
                <a:ea typeface="Source Sans Pro" panose="020B0503030403020204" pitchFamily="34" charset="0"/>
              </a:defRPr>
            </a:lvl3pPr>
            <a:lvl4pPr marL="1600221" indent="-228604">
              <a:buClr>
                <a:srgbClr val="F47B20"/>
              </a:buClr>
              <a:buFont typeface="Arial" panose="020B0604020202020204" pitchFamily="34" charset="0"/>
              <a:buChar char="•"/>
              <a:defRPr sz="1401">
                <a:solidFill>
                  <a:srgbClr val="001E60"/>
                </a:solidFill>
                <a:latin typeface="Source Sans Pro" panose="020B0503030403020204" pitchFamily="34" charset="0"/>
                <a:ea typeface="Source Sans Pro" panose="020B0503030403020204" pitchFamily="34" charset="0"/>
              </a:defRPr>
            </a:lvl4pPr>
            <a:lvl5pPr marL="2057427" indent="-228604">
              <a:buClr>
                <a:srgbClr val="F47B20"/>
              </a:buClr>
              <a:buFont typeface="Arial" panose="020B0604020202020204" pitchFamily="34" charset="0"/>
              <a:buChar cha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p:txBody>
      </p:sp>
    </p:spTree>
    <p:extLst>
      <p:ext uri="{BB962C8B-B14F-4D97-AF65-F5344CB8AC3E}">
        <p14:creationId xmlns:p14="http://schemas.microsoft.com/office/powerpoint/2010/main" val="13881510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pertina ENG">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0" name="CasellaDiTesto 9">
            <a:extLst>
              <a:ext uri="{FF2B5EF4-FFF2-40B4-BE49-F238E27FC236}">
                <a16:creationId xmlns:a16="http://schemas.microsoft.com/office/drawing/2014/main" id="{E48C28C1-455E-4BEB-AA3B-64852673EE1D}"/>
              </a:ext>
            </a:extLst>
          </p:cNvPr>
          <p:cNvSpPr txBox="1"/>
          <p:nvPr userDrawn="1"/>
        </p:nvSpPr>
        <p:spPr>
          <a:xfrm>
            <a:off x="7108372" y="6436915"/>
            <a:ext cx="3922681" cy="230832"/>
          </a:xfrm>
          <a:prstGeom prst="rect">
            <a:avLst/>
          </a:prstGeom>
          <a:noFill/>
        </p:spPr>
        <p:txBody>
          <a:bodyPr wrap="square" rtlCol="0">
            <a:spAutoFit/>
          </a:bodyPr>
          <a:lstStyle/>
          <a:p>
            <a:pPr algn="r"/>
            <a:r>
              <a:rPr lang="en-US" sz="900">
                <a:solidFill>
                  <a:srgbClr val="001E60"/>
                </a:solidFill>
                <a:latin typeface="Source Sans Pro SemiBold" panose="020B0603030403020204" pitchFamily="34" charset="0"/>
                <a:ea typeface="Source Sans Pro SemiBold" panose="020B0603030403020204" pitchFamily="34" charset="0"/>
              </a:rPr>
              <a:t>If a man does not know to which port he is steering, no wind is favorable</a:t>
            </a:r>
          </a:p>
        </p:txBody>
      </p:sp>
      <p:sp>
        <p:nvSpPr>
          <p:cNvPr id="11" name="CasellaDiTesto 10">
            <a:extLst>
              <a:ext uri="{FF2B5EF4-FFF2-40B4-BE49-F238E27FC236}">
                <a16:creationId xmlns:a16="http://schemas.microsoft.com/office/drawing/2014/main" id="{2D942B9A-A55E-4682-A543-6D063B114899}"/>
              </a:ext>
            </a:extLst>
          </p:cNvPr>
          <p:cNvSpPr txBox="1"/>
          <p:nvPr userDrawn="1"/>
        </p:nvSpPr>
        <p:spPr>
          <a:xfrm>
            <a:off x="5399122" y="500479"/>
            <a:ext cx="6337198" cy="276999"/>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1E60"/>
                </a:solidFill>
                <a:effectLst/>
                <a:uLnTx/>
                <a:uFillTx/>
                <a:latin typeface="Source Sans Pro"/>
                <a:ea typeface="Source Sans Pro SemiBold" panose="020B0603030403020204" pitchFamily="34" charset="0"/>
                <a:cs typeface="+mn-cs"/>
              </a:rPr>
              <a:t>THINK TANK  |  MANAGEMENT CONSULTING  |  LEADERS’ EDUCATION  |  SUMMIT</a:t>
            </a:r>
          </a:p>
        </p:txBody>
      </p:sp>
      <p:sp>
        <p:nvSpPr>
          <p:cNvPr id="12" name="CasellaDiTesto 11">
            <a:extLst>
              <a:ext uri="{FF2B5EF4-FFF2-40B4-BE49-F238E27FC236}">
                <a16:creationId xmlns:a16="http://schemas.microsoft.com/office/drawing/2014/main" id="{23C36DDE-09C7-41CB-9CBE-B45153495ED5}"/>
              </a:ext>
            </a:extLst>
          </p:cNvPr>
          <p:cNvSpPr txBox="1"/>
          <p:nvPr userDrawn="1"/>
        </p:nvSpPr>
        <p:spPr>
          <a:xfrm>
            <a:off x="240886" y="6474566"/>
            <a:ext cx="1479644" cy="200055"/>
          </a:xfrm>
          <a:prstGeom prst="rect">
            <a:avLst/>
          </a:prstGeom>
          <a:solidFill>
            <a:schemeClr val="bg1"/>
          </a:solid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2021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All</a:t>
            </a: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rights</a:t>
            </a: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reserved</a:t>
            </a:r>
            <a:endPar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endParaRPr>
          </a:p>
        </p:txBody>
      </p:sp>
      <p:pic>
        <p:nvPicPr>
          <p:cNvPr id="14" name="Immagine 13">
            <a:extLst>
              <a:ext uri="{FF2B5EF4-FFF2-40B4-BE49-F238E27FC236}">
                <a16:creationId xmlns:a16="http://schemas.microsoft.com/office/drawing/2014/main" id="{119B2E5F-B3AB-4C64-9217-650FE577ED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7211" y="467534"/>
            <a:ext cx="1801372" cy="342888"/>
          </a:xfrm>
          <a:prstGeom prst="rect">
            <a:avLst/>
          </a:prstGeom>
        </p:spPr>
      </p:pic>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sp>
        <p:nvSpPr>
          <p:cNvPr id="9" name="Segnaposto testo 5">
            <a:extLst>
              <a:ext uri="{FF2B5EF4-FFF2-40B4-BE49-F238E27FC236}">
                <a16:creationId xmlns:a16="http://schemas.microsoft.com/office/drawing/2014/main" id="{C381A194-FD88-4937-AD2C-F0D70BAFD686}"/>
              </a:ext>
            </a:extLst>
          </p:cNvPr>
          <p:cNvSpPr>
            <a:spLocks noGrp="1"/>
          </p:cNvSpPr>
          <p:nvPr>
            <p:ph type="body" sz="quarter" idx="10"/>
          </p:nvPr>
        </p:nvSpPr>
        <p:spPr>
          <a:xfrm>
            <a:off x="566738" y="1968501"/>
            <a:ext cx="7295115" cy="1082813"/>
          </a:xfrm>
          <a:prstGeom prst="rect">
            <a:avLst/>
          </a:prstGeom>
        </p:spPr>
        <p:txBody>
          <a:bodyPr/>
          <a:lstStyle>
            <a:lvl1pPr marL="0" indent="0">
              <a:spcAft>
                <a:spcPts val="1001"/>
              </a:spcAft>
              <a:buNone/>
              <a:defRPr sz="3600">
                <a:solidFill>
                  <a:srgbClr val="F47B20"/>
                </a:solidFill>
                <a:latin typeface="Source Sans Pro SemiBold" panose="020B0603030403020204" pitchFamily="34" charset="0"/>
                <a:ea typeface="Source Sans Pro SemiBold" panose="020B0603030403020204" pitchFamily="34" charset="0"/>
              </a:defRPr>
            </a:lvl1pPr>
            <a:lvl2pPr>
              <a:defRPr>
                <a:solidFill>
                  <a:srgbClr val="F47B20"/>
                </a:solidFill>
              </a:defRPr>
            </a:lvl2pPr>
            <a:lvl3pPr>
              <a:defRPr>
                <a:solidFill>
                  <a:srgbClr val="F47B20"/>
                </a:solidFill>
              </a:defRPr>
            </a:lvl3pPr>
            <a:lvl4pPr>
              <a:defRPr>
                <a:solidFill>
                  <a:srgbClr val="F47B20"/>
                </a:solidFill>
              </a:defRPr>
            </a:lvl4pPr>
            <a:lvl5pPr>
              <a:defRPr>
                <a:solidFill>
                  <a:srgbClr val="F47B20"/>
                </a:solidFill>
              </a:defRPr>
            </a:lvl5pPr>
          </a:lstStyle>
          <a:p>
            <a:pPr lvl="0"/>
            <a:r>
              <a:rPr lang="en-US" noProof="0"/>
              <a:t>Fare clic per modificare gli stili del testo dello schema</a:t>
            </a:r>
          </a:p>
        </p:txBody>
      </p:sp>
      <p:sp>
        <p:nvSpPr>
          <p:cNvPr id="13" name="Segnaposto testo 7">
            <a:extLst>
              <a:ext uri="{FF2B5EF4-FFF2-40B4-BE49-F238E27FC236}">
                <a16:creationId xmlns:a16="http://schemas.microsoft.com/office/drawing/2014/main" id="{63D91A6B-A4AD-471F-802C-625681E21BF9}"/>
              </a:ext>
            </a:extLst>
          </p:cNvPr>
          <p:cNvSpPr>
            <a:spLocks noGrp="1"/>
          </p:cNvSpPr>
          <p:nvPr>
            <p:ph type="body" sz="quarter" idx="11"/>
          </p:nvPr>
        </p:nvSpPr>
        <p:spPr>
          <a:xfrm>
            <a:off x="566738" y="3279776"/>
            <a:ext cx="7295115" cy="715963"/>
          </a:xfrm>
          <a:prstGeom prst="rect">
            <a:avLst/>
          </a:prstGeom>
        </p:spPr>
        <p:txBody>
          <a:bodyPr/>
          <a:lstStyle>
            <a:lvl1pPr marL="0" indent="0">
              <a:spcBef>
                <a:spcPts val="1200"/>
              </a:spcBef>
              <a:spcAft>
                <a:spcPts val="1200"/>
              </a:spcAft>
              <a:buNone/>
              <a:defRPr sz="1801">
                <a:solidFill>
                  <a:srgbClr val="001E60"/>
                </a:solidFill>
                <a:latin typeface="+mj-lt"/>
              </a:defRPr>
            </a:lvl1pPr>
            <a:lvl2pPr marL="457206" indent="0">
              <a:spcBef>
                <a:spcPts val="601"/>
              </a:spcBef>
              <a:spcAft>
                <a:spcPts val="601"/>
              </a:spcAft>
              <a:buNone/>
              <a:defRPr sz="1801">
                <a:solidFill>
                  <a:srgbClr val="001E60"/>
                </a:solidFill>
                <a:latin typeface="+mj-lt"/>
              </a:defRPr>
            </a:lvl2pPr>
            <a:lvl3pPr marL="914411" indent="0">
              <a:spcBef>
                <a:spcPts val="601"/>
              </a:spcBef>
              <a:spcAft>
                <a:spcPts val="601"/>
              </a:spcAft>
              <a:buNone/>
              <a:defRPr sz="1801">
                <a:solidFill>
                  <a:srgbClr val="001E60"/>
                </a:solidFill>
                <a:latin typeface="+mj-lt"/>
              </a:defRPr>
            </a:lvl3pPr>
            <a:lvl4pPr marL="1371617" indent="0">
              <a:spcBef>
                <a:spcPts val="601"/>
              </a:spcBef>
              <a:spcAft>
                <a:spcPts val="601"/>
              </a:spcAft>
              <a:buNone/>
              <a:defRPr sz="1801">
                <a:solidFill>
                  <a:srgbClr val="001E60"/>
                </a:solidFill>
                <a:latin typeface="+mj-lt"/>
              </a:defRPr>
            </a:lvl4pPr>
            <a:lvl5pPr marL="1828823" indent="0">
              <a:spcBef>
                <a:spcPts val="601"/>
              </a:spcBef>
              <a:spcAft>
                <a:spcPts val="601"/>
              </a:spcAft>
              <a:buNone/>
              <a:defRPr sz="1801">
                <a:solidFill>
                  <a:srgbClr val="001E60"/>
                </a:solidFill>
                <a:latin typeface="+mj-lt"/>
              </a:defRPr>
            </a:lvl5pPr>
          </a:lstStyle>
          <a:p>
            <a:pPr lvl="0"/>
            <a:r>
              <a:rPr lang="en-US" noProof="0"/>
              <a:t>Fare clic per modificare gli stili del testo dello schema</a:t>
            </a:r>
          </a:p>
        </p:txBody>
      </p:sp>
    </p:spTree>
    <p:extLst>
      <p:ext uri="{BB962C8B-B14F-4D97-AF65-F5344CB8AC3E}">
        <p14:creationId xmlns:p14="http://schemas.microsoft.com/office/powerpoint/2010/main" val="25797595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pertina ITA">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0" name="CasellaDiTesto 9">
            <a:extLst>
              <a:ext uri="{FF2B5EF4-FFF2-40B4-BE49-F238E27FC236}">
                <a16:creationId xmlns:a16="http://schemas.microsoft.com/office/drawing/2014/main" id="{E48C28C1-455E-4BEB-AA3B-64852673EE1D}"/>
              </a:ext>
            </a:extLst>
          </p:cNvPr>
          <p:cNvSpPr txBox="1"/>
          <p:nvPr userDrawn="1"/>
        </p:nvSpPr>
        <p:spPr>
          <a:xfrm>
            <a:off x="7108372" y="6436915"/>
            <a:ext cx="3922681" cy="230832"/>
          </a:xfrm>
          <a:prstGeom prst="rect">
            <a:avLst/>
          </a:prstGeom>
          <a:noFill/>
        </p:spPr>
        <p:txBody>
          <a:bodyPr wrap="square" rtlCol="0">
            <a:spAutoFit/>
          </a:bodyPr>
          <a:lstStyle/>
          <a:p>
            <a:pPr algn="r"/>
            <a:r>
              <a:rPr lang="it-IT" sz="900">
                <a:solidFill>
                  <a:srgbClr val="001E60"/>
                </a:solidFill>
                <a:latin typeface="Source Sans Pro SemiBold" panose="020B0603030403020204" pitchFamily="34" charset="0"/>
                <a:ea typeface="Source Sans Pro SemiBold" panose="020B0603030403020204" pitchFamily="34" charset="0"/>
              </a:rPr>
              <a:t>Non c’è vento a favore per chi non conosce il porto</a:t>
            </a:r>
          </a:p>
        </p:txBody>
      </p:sp>
      <p:sp>
        <p:nvSpPr>
          <p:cNvPr id="11" name="CasellaDiTesto 10">
            <a:extLst>
              <a:ext uri="{FF2B5EF4-FFF2-40B4-BE49-F238E27FC236}">
                <a16:creationId xmlns:a16="http://schemas.microsoft.com/office/drawing/2014/main" id="{2D942B9A-A55E-4682-A543-6D063B114899}"/>
              </a:ext>
            </a:extLst>
          </p:cNvPr>
          <p:cNvSpPr txBox="1"/>
          <p:nvPr userDrawn="1"/>
        </p:nvSpPr>
        <p:spPr>
          <a:xfrm>
            <a:off x="5399122" y="500479"/>
            <a:ext cx="6337198" cy="276999"/>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1E60"/>
                </a:solidFill>
                <a:effectLst/>
                <a:uLnTx/>
                <a:uFillTx/>
                <a:latin typeface="Source Sans Pro"/>
                <a:ea typeface="Source Sans Pro SemiBold" panose="020B0603030403020204" pitchFamily="34" charset="0"/>
                <a:cs typeface="+mn-cs"/>
              </a:rPr>
              <a:t>THINK TANK  |  MANAGEMENT CONSULTING  |  LEADERS’ EDUCATION  |  SUMMIT</a:t>
            </a:r>
          </a:p>
        </p:txBody>
      </p:sp>
      <p:sp>
        <p:nvSpPr>
          <p:cNvPr id="12" name="CasellaDiTesto 11">
            <a:extLst>
              <a:ext uri="{FF2B5EF4-FFF2-40B4-BE49-F238E27FC236}">
                <a16:creationId xmlns:a16="http://schemas.microsoft.com/office/drawing/2014/main" id="{23C36DDE-09C7-41CB-9CBE-B45153495ED5}"/>
              </a:ext>
            </a:extLst>
          </p:cNvPr>
          <p:cNvSpPr txBox="1"/>
          <p:nvPr userDrawn="1"/>
        </p:nvSpPr>
        <p:spPr>
          <a:xfrm>
            <a:off x="240886" y="6474566"/>
            <a:ext cx="1479644" cy="200055"/>
          </a:xfrm>
          <a:prstGeom prst="rect">
            <a:avLst/>
          </a:prstGeom>
          <a:solidFill>
            <a:schemeClr val="bg1"/>
          </a:solid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2021 Tutti i diritti riservati</a:t>
            </a:r>
          </a:p>
        </p:txBody>
      </p:sp>
      <p:pic>
        <p:nvPicPr>
          <p:cNvPr id="14" name="Immagine 13">
            <a:extLst>
              <a:ext uri="{FF2B5EF4-FFF2-40B4-BE49-F238E27FC236}">
                <a16:creationId xmlns:a16="http://schemas.microsoft.com/office/drawing/2014/main" id="{119B2E5F-B3AB-4C64-9217-650FE577ED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7211" y="467534"/>
            <a:ext cx="1801372" cy="342888"/>
          </a:xfrm>
          <a:prstGeom prst="rect">
            <a:avLst/>
          </a:prstGeom>
        </p:spPr>
      </p:pic>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sp>
        <p:nvSpPr>
          <p:cNvPr id="6" name="Segnaposto testo 5">
            <a:extLst>
              <a:ext uri="{FF2B5EF4-FFF2-40B4-BE49-F238E27FC236}">
                <a16:creationId xmlns:a16="http://schemas.microsoft.com/office/drawing/2014/main" id="{EF52FC51-0662-4EDC-B14C-1634434B37E8}"/>
              </a:ext>
            </a:extLst>
          </p:cNvPr>
          <p:cNvSpPr>
            <a:spLocks noGrp="1"/>
          </p:cNvSpPr>
          <p:nvPr>
            <p:ph type="body" sz="quarter" idx="10"/>
          </p:nvPr>
        </p:nvSpPr>
        <p:spPr>
          <a:xfrm>
            <a:off x="566738" y="1968501"/>
            <a:ext cx="7295115" cy="1082813"/>
          </a:xfrm>
          <a:prstGeom prst="rect">
            <a:avLst/>
          </a:prstGeom>
        </p:spPr>
        <p:txBody>
          <a:bodyPr/>
          <a:lstStyle>
            <a:lvl1pPr marL="0" indent="0">
              <a:spcAft>
                <a:spcPts val="1001"/>
              </a:spcAft>
              <a:buNone/>
              <a:defRPr sz="3600">
                <a:solidFill>
                  <a:srgbClr val="F47B20"/>
                </a:solidFill>
                <a:latin typeface="Source Sans Pro SemiBold" panose="020B0603030403020204" pitchFamily="34" charset="0"/>
                <a:ea typeface="Source Sans Pro SemiBold" panose="020B0603030403020204" pitchFamily="34" charset="0"/>
              </a:defRPr>
            </a:lvl1pPr>
            <a:lvl2pPr>
              <a:defRPr>
                <a:solidFill>
                  <a:srgbClr val="F47B20"/>
                </a:solidFill>
              </a:defRPr>
            </a:lvl2pPr>
            <a:lvl3pPr>
              <a:defRPr>
                <a:solidFill>
                  <a:srgbClr val="F47B20"/>
                </a:solidFill>
              </a:defRPr>
            </a:lvl3pPr>
            <a:lvl4pPr>
              <a:defRPr>
                <a:solidFill>
                  <a:srgbClr val="F47B20"/>
                </a:solidFill>
              </a:defRPr>
            </a:lvl4pPr>
            <a:lvl5pPr>
              <a:defRPr>
                <a:solidFill>
                  <a:srgbClr val="F47B20"/>
                </a:solidFill>
              </a:defRPr>
            </a:lvl5pPr>
          </a:lstStyle>
          <a:p>
            <a:pPr lvl="0"/>
            <a:r>
              <a:rPr lang="it-IT"/>
              <a:t>Fare clic per modificare gli stili del testo dello schema</a:t>
            </a:r>
          </a:p>
        </p:txBody>
      </p:sp>
      <p:sp>
        <p:nvSpPr>
          <p:cNvPr id="8" name="Segnaposto testo 7">
            <a:extLst>
              <a:ext uri="{FF2B5EF4-FFF2-40B4-BE49-F238E27FC236}">
                <a16:creationId xmlns:a16="http://schemas.microsoft.com/office/drawing/2014/main" id="{D6EB0F33-CCF1-46FD-B414-D857213FC7A2}"/>
              </a:ext>
            </a:extLst>
          </p:cNvPr>
          <p:cNvSpPr>
            <a:spLocks noGrp="1"/>
          </p:cNvSpPr>
          <p:nvPr>
            <p:ph type="body" sz="quarter" idx="11"/>
          </p:nvPr>
        </p:nvSpPr>
        <p:spPr>
          <a:xfrm>
            <a:off x="566738" y="3279776"/>
            <a:ext cx="7295115" cy="715963"/>
          </a:xfrm>
          <a:prstGeom prst="rect">
            <a:avLst/>
          </a:prstGeom>
        </p:spPr>
        <p:txBody>
          <a:bodyPr/>
          <a:lstStyle>
            <a:lvl1pPr marL="0" indent="0">
              <a:spcBef>
                <a:spcPts val="1200"/>
              </a:spcBef>
              <a:spcAft>
                <a:spcPts val="1200"/>
              </a:spcAft>
              <a:buNone/>
              <a:defRPr sz="1801">
                <a:solidFill>
                  <a:srgbClr val="001E60"/>
                </a:solidFill>
                <a:latin typeface="+mj-lt"/>
              </a:defRPr>
            </a:lvl1pPr>
            <a:lvl2pPr marL="457206" indent="0">
              <a:spcBef>
                <a:spcPts val="601"/>
              </a:spcBef>
              <a:spcAft>
                <a:spcPts val="601"/>
              </a:spcAft>
              <a:buNone/>
              <a:defRPr sz="1801">
                <a:solidFill>
                  <a:srgbClr val="001E60"/>
                </a:solidFill>
                <a:latin typeface="+mj-lt"/>
              </a:defRPr>
            </a:lvl2pPr>
            <a:lvl3pPr marL="914411" indent="0">
              <a:spcBef>
                <a:spcPts val="601"/>
              </a:spcBef>
              <a:spcAft>
                <a:spcPts val="601"/>
              </a:spcAft>
              <a:buNone/>
              <a:defRPr sz="1801">
                <a:solidFill>
                  <a:srgbClr val="001E60"/>
                </a:solidFill>
                <a:latin typeface="+mj-lt"/>
              </a:defRPr>
            </a:lvl3pPr>
            <a:lvl4pPr marL="1371617" indent="0">
              <a:spcBef>
                <a:spcPts val="601"/>
              </a:spcBef>
              <a:spcAft>
                <a:spcPts val="601"/>
              </a:spcAft>
              <a:buNone/>
              <a:defRPr sz="1801">
                <a:solidFill>
                  <a:srgbClr val="001E60"/>
                </a:solidFill>
                <a:latin typeface="+mj-lt"/>
              </a:defRPr>
            </a:lvl4pPr>
            <a:lvl5pPr marL="1828823" indent="0">
              <a:spcBef>
                <a:spcPts val="601"/>
              </a:spcBef>
              <a:spcAft>
                <a:spcPts val="601"/>
              </a:spcAft>
              <a:buNone/>
              <a:defRPr sz="1801">
                <a:solidFill>
                  <a:srgbClr val="001E60"/>
                </a:solidFill>
                <a:latin typeface="+mj-lt"/>
              </a:defRPr>
            </a:lvl5pPr>
          </a:lstStyle>
          <a:p>
            <a:pPr lvl="0"/>
            <a:r>
              <a:rPr lang="it-IT"/>
              <a:t>Fare clic per modificare gli stili del testo dello schema</a:t>
            </a:r>
          </a:p>
        </p:txBody>
      </p:sp>
    </p:spTree>
    <p:extLst>
      <p:ext uri="{BB962C8B-B14F-4D97-AF65-F5344CB8AC3E}">
        <p14:creationId xmlns:p14="http://schemas.microsoft.com/office/powerpoint/2010/main" val="116716006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 ITA">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6261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contenuto 5">
            <a:extLst>
              <a:ext uri="{FF2B5EF4-FFF2-40B4-BE49-F238E27FC236}">
                <a16:creationId xmlns:a16="http://schemas.microsoft.com/office/drawing/2014/main" id="{2997CE74-FC52-42EC-BC36-AA81E2E2126A}"/>
              </a:ext>
            </a:extLst>
          </p:cNvPr>
          <p:cNvSpPr>
            <a:spLocks noGrp="1"/>
          </p:cNvSpPr>
          <p:nvPr>
            <p:ph sz="quarter" idx="11"/>
          </p:nvPr>
        </p:nvSpPr>
        <p:spPr>
          <a:xfrm>
            <a:off x="403227" y="1083366"/>
            <a:ext cx="11384494" cy="4780723"/>
          </a:xfrm>
          <a:prstGeom prst="rect">
            <a:avLst/>
          </a:prstGeom>
        </p:spPr>
        <p:txBody>
          <a:bodyPr/>
          <a:lstStyle>
            <a:lvl1pPr marL="357192" indent="-357192">
              <a:buClr>
                <a:srgbClr val="F47B20"/>
              </a:buClr>
              <a:buFont typeface="Arial" panose="020B0604020202020204" pitchFamily="34" charset="0"/>
              <a:buChar char="•"/>
              <a:defRPr sz="1801">
                <a:solidFill>
                  <a:srgbClr val="001E60"/>
                </a:solidFill>
              </a:defRPr>
            </a:lvl1pPr>
            <a:lvl2pPr marL="715972" indent="-358780">
              <a:buClr>
                <a:srgbClr val="F47B20"/>
              </a:buClr>
              <a:buSzPct val="70000"/>
              <a:buFont typeface="Courier New" panose="02070309020205020404" pitchFamily="49" charset="0"/>
              <a:buChar char="o"/>
              <a:defRPr sz="1801">
                <a:solidFill>
                  <a:srgbClr val="001E60"/>
                </a:solidFill>
              </a:defRPr>
            </a:lvl2pPr>
            <a:lvl3pPr marL="1073164" indent="-357192">
              <a:buClr>
                <a:srgbClr val="F47B20"/>
              </a:buClr>
              <a:buFont typeface="Wingdings" panose="05000000000000000000" pitchFamily="2" charset="2"/>
              <a:buChar char="§"/>
              <a:defRPr sz="1801">
                <a:solidFill>
                  <a:srgbClr val="001E60"/>
                </a:solidFill>
              </a:defRPr>
            </a:lvl3pPr>
            <a:lvl4pPr marL="1431943" indent="-358780">
              <a:buClr>
                <a:srgbClr val="F47B20"/>
              </a:buClr>
              <a:buSzPct val="50000"/>
              <a:buFont typeface="Wingdings" panose="05000000000000000000" pitchFamily="2" charset="2"/>
              <a:buChar char="q"/>
              <a:defRPr sz="1801">
                <a:solidFill>
                  <a:srgbClr val="001E60"/>
                </a:solidFill>
              </a:defRPr>
            </a:lvl4pPr>
            <a:lvl5pPr marL="1789135" indent="-357192">
              <a:buClr>
                <a:srgbClr val="F47B20"/>
              </a:buClr>
              <a:buFont typeface="Source Sans Pro" panose="020B0503030403020204" pitchFamily="34" charset="0"/>
              <a:buChar char="−"/>
              <a:defRPr sz="1801">
                <a:solidFill>
                  <a:srgbClr val="001E60"/>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Tree>
    <p:extLst>
      <p:ext uri="{BB962C8B-B14F-4D97-AF65-F5344CB8AC3E}">
        <p14:creationId xmlns:p14="http://schemas.microsoft.com/office/powerpoint/2010/main" val="35301861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 ENG">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122656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contenuto 5">
            <a:extLst>
              <a:ext uri="{FF2B5EF4-FFF2-40B4-BE49-F238E27FC236}">
                <a16:creationId xmlns:a16="http://schemas.microsoft.com/office/drawing/2014/main" id="{2997CE74-FC52-42EC-BC36-AA81E2E2126A}"/>
              </a:ext>
            </a:extLst>
          </p:cNvPr>
          <p:cNvSpPr>
            <a:spLocks noGrp="1"/>
          </p:cNvSpPr>
          <p:nvPr>
            <p:ph sz="quarter" idx="11"/>
          </p:nvPr>
        </p:nvSpPr>
        <p:spPr>
          <a:xfrm>
            <a:off x="403227" y="1083366"/>
            <a:ext cx="11384494" cy="4780723"/>
          </a:xfrm>
          <a:prstGeom prst="rect">
            <a:avLst/>
          </a:prstGeom>
        </p:spPr>
        <p:txBody>
          <a:bodyPr/>
          <a:lstStyle>
            <a:lvl1pPr marL="357192" indent="-357192">
              <a:buClr>
                <a:srgbClr val="F47B20"/>
              </a:buClr>
              <a:buFont typeface="Arial" panose="020B0604020202020204" pitchFamily="34" charset="0"/>
              <a:buChar char="•"/>
              <a:defRPr sz="1801">
                <a:solidFill>
                  <a:srgbClr val="001E60"/>
                </a:solidFill>
              </a:defRPr>
            </a:lvl1pPr>
            <a:lvl2pPr marL="715972" indent="-358780">
              <a:buClr>
                <a:srgbClr val="F47B20"/>
              </a:buClr>
              <a:buSzPct val="70000"/>
              <a:buFont typeface="Courier New" panose="02070309020205020404" pitchFamily="49" charset="0"/>
              <a:buChar char="o"/>
              <a:defRPr sz="1801">
                <a:solidFill>
                  <a:srgbClr val="001E60"/>
                </a:solidFill>
              </a:defRPr>
            </a:lvl2pPr>
            <a:lvl3pPr marL="1073164" indent="-357192">
              <a:buClr>
                <a:srgbClr val="F47B20"/>
              </a:buClr>
              <a:buFont typeface="Wingdings" panose="05000000000000000000" pitchFamily="2" charset="2"/>
              <a:buChar char="§"/>
              <a:defRPr sz="1801">
                <a:solidFill>
                  <a:srgbClr val="001E60"/>
                </a:solidFill>
              </a:defRPr>
            </a:lvl3pPr>
            <a:lvl4pPr marL="1431943" indent="-358780">
              <a:buClr>
                <a:srgbClr val="F47B20"/>
              </a:buClr>
              <a:buSzPct val="50000"/>
              <a:buFont typeface="Wingdings" panose="05000000000000000000" pitchFamily="2" charset="2"/>
              <a:buChar char="q"/>
              <a:defRPr sz="1801">
                <a:solidFill>
                  <a:srgbClr val="001E60"/>
                </a:solidFill>
              </a:defRPr>
            </a:lvl4pPr>
            <a:lvl5pPr marL="1789135" indent="-357192">
              <a:buClr>
                <a:srgbClr val="F47B20"/>
              </a:buClr>
              <a:buFont typeface="Source Sans Pro" panose="020B0503030403020204" pitchFamily="34" charset="0"/>
              <a:buChar char="−"/>
              <a:defRPr sz="1801">
                <a:solidFill>
                  <a:srgbClr val="001E60"/>
                </a:solidFill>
              </a:defRPr>
            </a:lvl5pPr>
          </a:lstStyle>
          <a:p>
            <a:pPr lvl="0"/>
            <a:r>
              <a:rPr lang="en-US" noProof="0"/>
              <a:t>Fare clic per modificare gli stili del testo dello schema</a:t>
            </a:r>
          </a:p>
          <a:p>
            <a:pPr lvl="1"/>
            <a:r>
              <a:rPr lang="en-US" noProof="0"/>
              <a:t>Secondo livello</a:t>
            </a:r>
          </a:p>
          <a:p>
            <a:pPr lvl="2"/>
            <a:r>
              <a:rPr lang="en-US" noProof="0"/>
              <a:t>Terzo livello</a:t>
            </a:r>
          </a:p>
          <a:p>
            <a:pPr lvl="3"/>
            <a:r>
              <a:rPr lang="en-US" noProof="0"/>
              <a:t>Quarto livello</a:t>
            </a:r>
          </a:p>
          <a:p>
            <a:pPr lvl="4"/>
            <a:r>
              <a:rPr lang="en-US" noProof="0"/>
              <a:t>Quinto livello</a:t>
            </a:r>
          </a:p>
        </p:txBody>
      </p:sp>
    </p:spTree>
    <p:extLst>
      <p:ext uri="{BB962C8B-B14F-4D97-AF65-F5344CB8AC3E}">
        <p14:creationId xmlns:p14="http://schemas.microsoft.com/office/powerpoint/2010/main" val="31863593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etodologia ITA">
    <p:spTree>
      <p:nvGrpSpPr>
        <p:cNvPr id="1" name=""/>
        <p:cNvGrpSpPr/>
        <p:nvPr/>
      </p:nvGrpSpPr>
      <p:grpSpPr>
        <a:xfrm>
          <a:off x="0" y="0"/>
          <a:ext cx="0" cy="0"/>
          <a:chOff x="0" y="0"/>
          <a:chExt cx="0" cy="0"/>
        </a:xfrm>
      </p:grpSpPr>
      <p:pic>
        <p:nvPicPr>
          <p:cNvPr id="4" name="Picture 2" descr="C:\Users\vadorni\Desktop\Nuovo Format\Sintesi.png">
            <a:extLst>
              <a:ext uri="{FF2B5EF4-FFF2-40B4-BE49-F238E27FC236}">
                <a16:creationId xmlns:a16="http://schemas.microsoft.com/office/drawing/2014/main" id="{097C489D-B365-4A63-B8F6-B4DF74BAE6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6549" y="168276"/>
            <a:ext cx="11601451" cy="585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olo 2"/>
          <p:cNvSpPr>
            <a:spLocks noGrp="1"/>
          </p:cNvSpPr>
          <p:nvPr>
            <p:ph type="title" hasCustomPrompt="1"/>
          </p:nvPr>
        </p:nvSpPr>
        <p:spPr>
          <a:xfrm>
            <a:off x="496956" y="802446"/>
            <a:ext cx="11280914" cy="553199"/>
          </a:xfrm>
          <a:prstGeom prst="rect">
            <a:avLst/>
          </a:prstGeom>
          <a:noFill/>
          <a:ln>
            <a:noFill/>
          </a:ln>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pPr lvl="0"/>
            <a:r>
              <a:rPr lang="it-IT" noProof="0"/>
              <a:t>Fare clic per modificare lo stile del titolo del</a:t>
            </a:r>
            <a:br>
              <a:rPr lang="it-IT" noProof="0"/>
            </a:br>
            <a:r>
              <a:rPr lang="it-IT" noProof="0"/>
              <a:t>lo schema</a:t>
            </a:r>
          </a:p>
        </p:txBody>
      </p:sp>
      <p:sp>
        <p:nvSpPr>
          <p:cNvPr id="5" name="Segnaposto contenuto 5">
            <a:extLst>
              <a:ext uri="{FF2B5EF4-FFF2-40B4-BE49-F238E27FC236}">
                <a16:creationId xmlns:a16="http://schemas.microsoft.com/office/drawing/2014/main" id="{E03CB189-36A0-410B-9D61-075B30C14D42}"/>
              </a:ext>
            </a:extLst>
          </p:cNvPr>
          <p:cNvSpPr>
            <a:spLocks noGrp="1"/>
          </p:cNvSpPr>
          <p:nvPr>
            <p:ph sz="quarter" idx="11"/>
          </p:nvPr>
        </p:nvSpPr>
        <p:spPr>
          <a:xfrm>
            <a:off x="496958" y="1625600"/>
            <a:ext cx="11290764" cy="4238488"/>
          </a:xfrm>
          <a:prstGeom prst="rect">
            <a:avLst/>
          </a:prstGeom>
        </p:spPr>
        <p:txBody>
          <a:bodyPr/>
          <a:lstStyle>
            <a:lvl1pPr marL="357192" indent="-357192">
              <a:buClr>
                <a:srgbClr val="F47B20"/>
              </a:buClr>
              <a:buFont typeface="Arial" panose="020B0604020202020204" pitchFamily="34" charset="0"/>
              <a:buChar char="•"/>
              <a:defRPr sz="1801">
                <a:solidFill>
                  <a:srgbClr val="001E60"/>
                </a:solidFill>
              </a:defRPr>
            </a:lvl1pPr>
            <a:lvl2pPr marL="715972" indent="-358780">
              <a:buClr>
                <a:srgbClr val="F47B20"/>
              </a:buClr>
              <a:buSzPct val="70000"/>
              <a:buFont typeface="Courier New" panose="02070309020205020404" pitchFamily="49" charset="0"/>
              <a:buChar char="o"/>
              <a:defRPr sz="1801">
                <a:solidFill>
                  <a:srgbClr val="001E60"/>
                </a:solidFill>
              </a:defRPr>
            </a:lvl2pPr>
            <a:lvl3pPr marL="1073164" indent="-357192">
              <a:buClr>
                <a:srgbClr val="F47B20"/>
              </a:buClr>
              <a:buFont typeface="Wingdings" panose="05000000000000000000" pitchFamily="2" charset="2"/>
              <a:buChar char="§"/>
              <a:defRPr sz="1801">
                <a:solidFill>
                  <a:srgbClr val="001E60"/>
                </a:solidFill>
              </a:defRPr>
            </a:lvl3pPr>
            <a:lvl4pPr marL="1431943" indent="-358780">
              <a:buClr>
                <a:srgbClr val="F47B20"/>
              </a:buClr>
              <a:buSzPct val="50000"/>
              <a:buFont typeface="Wingdings" panose="05000000000000000000" pitchFamily="2" charset="2"/>
              <a:buChar char="q"/>
              <a:defRPr sz="1801">
                <a:solidFill>
                  <a:srgbClr val="001E60"/>
                </a:solidFill>
              </a:defRPr>
            </a:lvl4pPr>
            <a:lvl5pPr marL="1789135" indent="-357192">
              <a:buClr>
                <a:srgbClr val="F47B20"/>
              </a:buClr>
              <a:buFont typeface="Source Sans Pro" panose="020B0503030403020204" pitchFamily="34" charset="0"/>
              <a:buChar char="−"/>
              <a:defRPr sz="1801">
                <a:solidFill>
                  <a:srgbClr val="001E60"/>
                </a:solidFill>
              </a:defRPr>
            </a:lvl5pPr>
          </a:lstStyle>
          <a:p>
            <a:pPr lvl="0"/>
            <a:r>
              <a:rPr lang="en-US" noProof="0"/>
              <a:t>Fare clic per modificare gli stili del testo dello schema</a:t>
            </a:r>
          </a:p>
          <a:p>
            <a:pPr lvl="1"/>
            <a:r>
              <a:rPr lang="en-US" noProof="0"/>
              <a:t>Secondo livello</a:t>
            </a:r>
          </a:p>
          <a:p>
            <a:pPr lvl="2"/>
            <a:r>
              <a:rPr lang="en-US" noProof="0"/>
              <a:t>Terzo livello</a:t>
            </a:r>
          </a:p>
          <a:p>
            <a:pPr lvl="3"/>
            <a:r>
              <a:rPr lang="en-US" noProof="0"/>
              <a:t>Quarto livello</a:t>
            </a:r>
          </a:p>
          <a:p>
            <a:pPr lvl="4"/>
            <a:r>
              <a:rPr lang="en-US" noProof="0"/>
              <a:t>Quinto livello</a:t>
            </a:r>
          </a:p>
        </p:txBody>
      </p:sp>
    </p:spTree>
    <p:extLst>
      <p:ext uri="{BB962C8B-B14F-4D97-AF65-F5344CB8AC3E}">
        <p14:creationId xmlns:p14="http://schemas.microsoft.com/office/powerpoint/2010/main" val="37160857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etodologia ENG">
    <p:spTree>
      <p:nvGrpSpPr>
        <p:cNvPr id="1" name=""/>
        <p:cNvGrpSpPr/>
        <p:nvPr/>
      </p:nvGrpSpPr>
      <p:grpSpPr>
        <a:xfrm>
          <a:off x="0" y="0"/>
          <a:ext cx="0" cy="0"/>
          <a:chOff x="0" y="0"/>
          <a:chExt cx="0" cy="0"/>
        </a:xfrm>
      </p:grpSpPr>
      <p:pic>
        <p:nvPicPr>
          <p:cNvPr id="4" name="Picture 2" descr="C:\Users\vadorni\Desktop\Nuovo Format\Sintesi.png">
            <a:extLst>
              <a:ext uri="{FF2B5EF4-FFF2-40B4-BE49-F238E27FC236}">
                <a16:creationId xmlns:a16="http://schemas.microsoft.com/office/drawing/2014/main" id="{097C489D-B365-4A63-B8F6-B4DF74BAE6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6549" y="168276"/>
            <a:ext cx="11601451" cy="585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olo 2"/>
          <p:cNvSpPr>
            <a:spLocks noGrp="1"/>
          </p:cNvSpPr>
          <p:nvPr>
            <p:ph type="title" hasCustomPrompt="1"/>
          </p:nvPr>
        </p:nvSpPr>
        <p:spPr>
          <a:xfrm>
            <a:off x="496956" y="802446"/>
            <a:ext cx="11280914" cy="553199"/>
          </a:xfrm>
          <a:prstGeom prst="rect">
            <a:avLst/>
          </a:prstGeom>
          <a:noFill/>
          <a:ln>
            <a:noFill/>
          </a:ln>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pPr lvl="0"/>
            <a:r>
              <a:rPr lang="it-IT" noProof="0"/>
              <a:t>Fare clic per modificare lo stile del titolo del</a:t>
            </a:r>
            <a:br>
              <a:rPr lang="it-IT" noProof="0"/>
            </a:br>
            <a:r>
              <a:rPr lang="it-IT" noProof="0"/>
              <a:t>lo schema</a:t>
            </a:r>
          </a:p>
        </p:txBody>
      </p:sp>
      <p:sp>
        <p:nvSpPr>
          <p:cNvPr id="5" name="Segnaposto contenuto 5">
            <a:extLst>
              <a:ext uri="{FF2B5EF4-FFF2-40B4-BE49-F238E27FC236}">
                <a16:creationId xmlns:a16="http://schemas.microsoft.com/office/drawing/2014/main" id="{E03CB189-36A0-410B-9D61-075B30C14D42}"/>
              </a:ext>
            </a:extLst>
          </p:cNvPr>
          <p:cNvSpPr>
            <a:spLocks noGrp="1"/>
          </p:cNvSpPr>
          <p:nvPr>
            <p:ph sz="quarter" idx="11"/>
          </p:nvPr>
        </p:nvSpPr>
        <p:spPr>
          <a:xfrm>
            <a:off x="496958" y="1625600"/>
            <a:ext cx="11290764" cy="4238488"/>
          </a:xfrm>
          <a:prstGeom prst="rect">
            <a:avLst/>
          </a:prstGeom>
        </p:spPr>
        <p:txBody>
          <a:bodyPr/>
          <a:lstStyle>
            <a:lvl1pPr marL="357192" indent="-357192">
              <a:buClr>
                <a:srgbClr val="F47B20"/>
              </a:buClr>
              <a:buFont typeface="Arial" panose="020B0604020202020204" pitchFamily="34" charset="0"/>
              <a:buChar char="•"/>
              <a:defRPr sz="1801">
                <a:solidFill>
                  <a:srgbClr val="001E60"/>
                </a:solidFill>
              </a:defRPr>
            </a:lvl1pPr>
            <a:lvl2pPr marL="715972" indent="-358780">
              <a:buClr>
                <a:srgbClr val="F47B20"/>
              </a:buClr>
              <a:buSzPct val="70000"/>
              <a:buFont typeface="Courier New" panose="02070309020205020404" pitchFamily="49" charset="0"/>
              <a:buChar char="o"/>
              <a:defRPr sz="1801">
                <a:solidFill>
                  <a:srgbClr val="001E60"/>
                </a:solidFill>
              </a:defRPr>
            </a:lvl2pPr>
            <a:lvl3pPr marL="1073164" indent="-357192">
              <a:buClr>
                <a:srgbClr val="F47B20"/>
              </a:buClr>
              <a:buFont typeface="Wingdings" panose="05000000000000000000" pitchFamily="2" charset="2"/>
              <a:buChar char="§"/>
              <a:defRPr sz="1801">
                <a:solidFill>
                  <a:srgbClr val="001E60"/>
                </a:solidFill>
              </a:defRPr>
            </a:lvl3pPr>
            <a:lvl4pPr marL="1431943" indent="-358780">
              <a:buClr>
                <a:srgbClr val="F47B20"/>
              </a:buClr>
              <a:buSzPct val="50000"/>
              <a:buFont typeface="Wingdings" panose="05000000000000000000" pitchFamily="2" charset="2"/>
              <a:buChar char="q"/>
              <a:defRPr sz="1801">
                <a:solidFill>
                  <a:srgbClr val="001E60"/>
                </a:solidFill>
              </a:defRPr>
            </a:lvl4pPr>
            <a:lvl5pPr marL="1789135" indent="-357192">
              <a:buClr>
                <a:srgbClr val="F47B20"/>
              </a:buClr>
              <a:buFont typeface="Source Sans Pro" panose="020B0503030403020204" pitchFamily="34" charset="0"/>
              <a:buChar char="−"/>
              <a:defRPr sz="1801">
                <a:solidFill>
                  <a:srgbClr val="001E60"/>
                </a:solidFill>
              </a:defRPr>
            </a:lvl5pPr>
          </a:lstStyle>
          <a:p>
            <a:pPr lvl="0"/>
            <a:r>
              <a:rPr lang="en-US" noProof="0"/>
              <a:t>Fare clic per modificare gli stili del testo dello schema</a:t>
            </a:r>
          </a:p>
          <a:p>
            <a:pPr lvl="1"/>
            <a:r>
              <a:rPr lang="en-US" noProof="0"/>
              <a:t>Secondo livello</a:t>
            </a:r>
          </a:p>
          <a:p>
            <a:pPr lvl="2"/>
            <a:r>
              <a:rPr lang="en-US" noProof="0"/>
              <a:t>Terzo livello</a:t>
            </a:r>
          </a:p>
          <a:p>
            <a:pPr lvl="3"/>
            <a:r>
              <a:rPr lang="en-US" noProof="0"/>
              <a:t>Quarto livello</a:t>
            </a:r>
          </a:p>
          <a:p>
            <a:pPr lvl="4"/>
            <a:r>
              <a:rPr lang="en-US" noProof="0"/>
              <a:t>Quinto livello</a:t>
            </a:r>
          </a:p>
        </p:txBody>
      </p:sp>
    </p:spTree>
    <p:extLst>
      <p:ext uri="{BB962C8B-B14F-4D97-AF65-F5344CB8AC3E}">
        <p14:creationId xmlns:p14="http://schemas.microsoft.com/office/powerpoint/2010/main" val="19278705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essaggio chiave ITA">
    <p:spTree>
      <p:nvGrpSpPr>
        <p:cNvPr id="1" name=""/>
        <p:cNvGrpSpPr/>
        <p:nvPr/>
      </p:nvGrpSpPr>
      <p:grpSpPr>
        <a:xfrm>
          <a:off x="0" y="0"/>
          <a:ext cx="0" cy="0"/>
          <a:chOff x="0" y="0"/>
          <a:chExt cx="0" cy="0"/>
        </a:xfrm>
      </p:grpSpPr>
      <p:cxnSp>
        <p:nvCxnSpPr>
          <p:cNvPr id="3" name="Connettore diritto 2">
            <a:extLst>
              <a:ext uri="{FF2B5EF4-FFF2-40B4-BE49-F238E27FC236}">
                <a16:creationId xmlns:a16="http://schemas.microsoft.com/office/drawing/2014/main" id="{480F71A9-D972-4409-A7C4-6DA65A4DD8BA}"/>
              </a:ext>
            </a:extLst>
          </p:cNvPr>
          <p:cNvCxnSpPr>
            <a:cxnSpLocks/>
          </p:cNvCxnSpPr>
          <p:nvPr userDrawn="1"/>
        </p:nvCxnSpPr>
        <p:spPr>
          <a:xfrm>
            <a:off x="399888" y="4123948"/>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
        <p:nvSpPr>
          <p:cNvPr id="4" name="Titolo 3">
            <a:extLst>
              <a:ext uri="{FF2B5EF4-FFF2-40B4-BE49-F238E27FC236}">
                <a16:creationId xmlns:a16="http://schemas.microsoft.com/office/drawing/2014/main" id="{A513269F-8769-4D15-BDFB-860623E861C9}"/>
              </a:ext>
            </a:extLst>
          </p:cNvPr>
          <p:cNvSpPr>
            <a:spLocks noGrp="1"/>
          </p:cNvSpPr>
          <p:nvPr>
            <p:ph type="title"/>
          </p:nvPr>
        </p:nvSpPr>
        <p:spPr>
          <a:xfrm>
            <a:off x="403315" y="884594"/>
            <a:ext cx="11380699" cy="3239349"/>
          </a:xfrm>
          <a:prstGeom prst="rect">
            <a:avLst/>
          </a:prstGeom>
        </p:spPr>
        <p:txBody>
          <a:bodyPr vert="horz" lIns="91440" tIns="45720" rIns="91440" bIns="45720" rtlCol="0" anchor="ctr">
            <a:noAutofit/>
          </a:bodyPr>
          <a:lstStyle>
            <a:lvl1pPr algn="ctr" rtl="0" eaLnBrk="0" fontAlgn="base" hangingPunct="0">
              <a:spcBef>
                <a:spcPct val="0"/>
              </a:spcBef>
              <a:spcAft>
                <a:spcPct val="0"/>
              </a:spcAft>
              <a:defRPr sz="3200">
                <a:solidFill>
                  <a:srgbClr val="F47B20"/>
                </a:solidFill>
                <a:latin typeface="+mn-lt"/>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Tree>
    <p:extLst>
      <p:ext uri="{BB962C8B-B14F-4D97-AF65-F5344CB8AC3E}">
        <p14:creationId xmlns:p14="http://schemas.microsoft.com/office/powerpoint/2010/main" val="3093796910"/>
      </p:ext>
    </p:extLst>
  </p:cSld>
  <p:clrMapOvr>
    <a:masterClrMapping/>
  </p:clrMapOvr>
  <p:extLst>
    <p:ext uri="{DCECCB84-F9BA-43D5-87BE-67443E8EF086}">
      <p15:sldGuideLst xmlns:p15="http://schemas.microsoft.com/office/powerpoint/2012/main">
        <p15:guide id="1" orient="horz" pos="1933" userDrawn="1">
          <p15:clr>
            <a:srgbClr val="FBAE40"/>
          </p15:clr>
        </p15:guide>
        <p15:guide id="2" pos="551"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essaggio chiave ENG">
    <p:spTree>
      <p:nvGrpSpPr>
        <p:cNvPr id="1" name=""/>
        <p:cNvGrpSpPr/>
        <p:nvPr/>
      </p:nvGrpSpPr>
      <p:grpSpPr>
        <a:xfrm>
          <a:off x="0" y="0"/>
          <a:ext cx="0" cy="0"/>
          <a:chOff x="0" y="0"/>
          <a:chExt cx="0" cy="0"/>
        </a:xfrm>
      </p:grpSpPr>
      <p:cxnSp>
        <p:nvCxnSpPr>
          <p:cNvPr id="3" name="Connettore diritto 2">
            <a:extLst>
              <a:ext uri="{FF2B5EF4-FFF2-40B4-BE49-F238E27FC236}">
                <a16:creationId xmlns:a16="http://schemas.microsoft.com/office/drawing/2014/main" id="{480F71A9-D972-4409-A7C4-6DA65A4DD8BA}"/>
              </a:ext>
            </a:extLst>
          </p:cNvPr>
          <p:cNvCxnSpPr>
            <a:cxnSpLocks/>
          </p:cNvCxnSpPr>
          <p:nvPr userDrawn="1"/>
        </p:nvCxnSpPr>
        <p:spPr>
          <a:xfrm>
            <a:off x="399888" y="4123948"/>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
        <p:nvSpPr>
          <p:cNvPr id="4" name="Titolo 3">
            <a:extLst>
              <a:ext uri="{FF2B5EF4-FFF2-40B4-BE49-F238E27FC236}">
                <a16:creationId xmlns:a16="http://schemas.microsoft.com/office/drawing/2014/main" id="{A513269F-8769-4D15-BDFB-860623E861C9}"/>
              </a:ext>
            </a:extLst>
          </p:cNvPr>
          <p:cNvSpPr>
            <a:spLocks noGrp="1"/>
          </p:cNvSpPr>
          <p:nvPr>
            <p:ph type="title"/>
          </p:nvPr>
        </p:nvSpPr>
        <p:spPr>
          <a:xfrm>
            <a:off x="403315" y="884594"/>
            <a:ext cx="11380699" cy="3239349"/>
          </a:xfrm>
          <a:prstGeom prst="rect">
            <a:avLst/>
          </a:prstGeom>
        </p:spPr>
        <p:txBody>
          <a:bodyPr vert="horz" lIns="91440" tIns="45720" rIns="91440" bIns="45720" rtlCol="0" anchor="ctr">
            <a:noAutofit/>
          </a:bodyPr>
          <a:lstStyle>
            <a:lvl1pPr algn="ctr" rtl="0" eaLnBrk="0" fontAlgn="base" hangingPunct="0">
              <a:spcBef>
                <a:spcPct val="0"/>
              </a:spcBef>
              <a:spcAft>
                <a:spcPct val="0"/>
              </a:spcAft>
              <a:defRPr sz="3200">
                <a:solidFill>
                  <a:srgbClr val="F47B20"/>
                </a:solidFill>
                <a:latin typeface="+mn-lt"/>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Tree>
    <p:extLst>
      <p:ext uri="{BB962C8B-B14F-4D97-AF65-F5344CB8AC3E}">
        <p14:creationId xmlns:p14="http://schemas.microsoft.com/office/powerpoint/2010/main" val="3495721505"/>
      </p:ext>
    </p:extLst>
  </p:cSld>
  <p:clrMapOvr>
    <a:masterClrMapping/>
  </p:clrMapOvr>
  <p:extLst>
    <p:ext uri="{DCECCB84-F9BA-43D5-87BE-67443E8EF086}">
      <p15:sldGuideLst xmlns:p15="http://schemas.microsoft.com/office/powerpoint/2012/main">
        <p15:guide id="1" orient="horz" pos="1933" userDrawn="1">
          <p15:clr>
            <a:srgbClr val="FBAE40"/>
          </p15:clr>
        </p15:guide>
        <p15:guide id="2" pos="551"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Ultima ITA">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pic>
        <p:nvPicPr>
          <p:cNvPr id="17" name="Immagine 16" descr="Immagine che contiene testo&#10;&#10;Descrizione generata automaticamente">
            <a:extLst>
              <a:ext uri="{FF2B5EF4-FFF2-40B4-BE49-F238E27FC236}">
                <a16:creationId xmlns:a16="http://schemas.microsoft.com/office/drawing/2014/main" id="{5BE25C0C-F577-4EE2-84EA-BCA174D5228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0764" y="6074303"/>
            <a:ext cx="1186437" cy="542234"/>
          </a:xfrm>
          <a:prstGeom prst="rect">
            <a:avLst/>
          </a:prstGeom>
        </p:spPr>
      </p:pic>
      <p:pic>
        <p:nvPicPr>
          <p:cNvPr id="18" name="Immagine 17">
            <a:extLst>
              <a:ext uri="{FF2B5EF4-FFF2-40B4-BE49-F238E27FC236}">
                <a16:creationId xmlns:a16="http://schemas.microsoft.com/office/drawing/2014/main" id="{3F3B73F4-0B4C-40E3-95F7-50E353363253}"/>
              </a:ext>
            </a:extLst>
          </p:cNvPr>
          <p:cNvPicPr>
            <a:picLocks noChangeAspect="1"/>
          </p:cNvPicPr>
          <p:nvPr userDrawn="1"/>
        </p:nvPicPr>
        <p:blipFill>
          <a:blip r:embed="rId4"/>
          <a:stretch>
            <a:fillRect/>
          </a:stretch>
        </p:blipFill>
        <p:spPr>
          <a:xfrm>
            <a:off x="9755686" y="449723"/>
            <a:ext cx="1801372" cy="365761"/>
          </a:xfrm>
          <a:prstGeom prst="rect">
            <a:avLst/>
          </a:prstGeom>
        </p:spPr>
      </p:pic>
      <p:sp>
        <p:nvSpPr>
          <p:cNvPr id="8" name="CasellaDiTesto 7">
            <a:extLst>
              <a:ext uri="{FF2B5EF4-FFF2-40B4-BE49-F238E27FC236}">
                <a16:creationId xmlns:a16="http://schemas.microsoft.com/office/drawing/2014/main" id="{5A3C1401-D991-47A4-B594-8E5AC6BDF054}"/>
              </a:ext>
            </a:extLst>
          </p:cNvPr>
          <p:cNvSpPr txBox="1"/>
          <p:nvPr userDrawn="1"/>
        </p:nvSpPr>
        <p:spPr>
          <a:xfrm>
            <a:off x="1837662" y="3963526"/>
            <a:ext cx="8516679" cy="792589"/>
          </a:xfrm>
          <a:prstGeom prst="rect">
            <a:avLst/>
          </a:prstGeom>
          <a:noFill/>
        </p:spPr>
        <p:txBody>
          <a:bodyPr wrap="square">
            <a:spAutoFit/>
          </a:bodyPr>
          <a:lstStyle/>
          <a:p>
            <a:pPr algn="ctr">
              <a:lnSpc>
                <a:spcPct val="130000"/>
              </a:lnSpc>
            </a:pPr>
            <a:r>
              <a:rPr lang="it-IT" sz="1200" b="1" i="1">
                <a:solidFill>
                  <a:srgbClr val="001E60"/>
                </a:solidFill>
                <a:latin typeface="Source Sans Pro" panose="020B0503030403020204" pitchFamily="34" charset="0"/>
                <a:ea typeface="Source Sans Pro" panose="020B0503030403020204" pitchFamily="34" charset="0"/>
              </a:rPr>
              <a:t>The </a:t>
            </a:r>
            <a:r>
              <a:rPr lang="it-IT" sz="1200" b="1" i="1" err="1">
                <a:solidFill>
                  <a:srgbClr val="001E60"/>
                </a:solidFill>
                <a:latin typeface="Source Sans Pro" panose="020B0503030403020204" pitchFamily="34" charset="0"/>
                <a:ea typeface="Source Sans Pro" panose="020B0503030403020204" pitchFamily="34" charset="0"/>
              </a:rPr>
              <a:t>European</a:t>
            </a:r>
            <a:r>
              <a:rPr lang="it-IT" sz="1200" b="1" i="1">
                <a:solidFill>
                  <a:srgbClr val="001E60"/>
                </a:solidFill>
                <a:latin typeface="Source Sans Pro" panose="020B0503030403020204" pitchFamily="34" charset="0"/>
                <a:ea typeface="Source Sans Pro" panose="020B0503030403020204" pitchFamily="34" charset="0"/>
              </a:rPr>
              <a:t> House - Ambrosetti è stata nominata </a:t>
            </a:r>
            <a:r>
              <a:rPr lang="it-IT" sz="1200" i="1">
                <a:solidFill>
                  <a:srgbClr val="001E60"/>
                </a:solidFill>
                <a:latin typeface="Source Sans Pro" panose="020B0503030403020204" pitchFamily="34" charset="0"/>
                <a:ea typeface="Source Sans Pro" panose="020B0503030403020204" pitchFamily="34" charset="0"/>
              </a:rPr>
              <a:t>anche nel 2021, per l’ottavo anno consecutivo - nella categoria "Best Private Think Tanks" - </a:t>
            </a:r>
            <a:r>
              <a:rPr lang="it-IT" sz="1200" b="1" i="1">
                <a:solidFill>
                  <a:srgbClr val="001E60"/>
                </a:solidFill>
                <a:latin typeface="Source Sans Pro" panose="020B0503030403020204" pitchFamily="34" charset="0"/>
                <a:ea typeface="Source Sans Pro" panose="020B0503030403020204" pitchFamily="34" charset="0"/>
              </a:rPr>
              <a:t>1° Think Tank in Italia, 4° nell’Unione Europea e tra i più rispettati indipendenti al mondo su 11.175 a livello globale nell’ultima edizione del “Global Go To Think Tanks Report”</a:t>
            </a:r>
            <a:r>
              <a:rPr lang="it-IT" sz="1200" i="1">
                <a:solidFill>
                  <a:srgbClr val="001E60"/>
                </a:solidFill>
                <a:latin typeface="Source Sans Pro" panose="020B0503030403020204" pitchFamily="34" charset="0"/>
                <a:ea typeface="Source Sans Pro" panose="020B0503030403020204" pitchFamily="34" charset="0"/>
              </a:rPr>
              <a:t> dell’Università della Pennsylvania.</a:t>
            </a:r>
          </a:p>
        </p:txBody>
      </p:sp>
    </p:spTree>
    <p:extLst>
      <p:ext uri="{BB962C8B-B14F-4D97-AF65-F5344CB8AC3E}">
        <p14:creationId xmlns:p14="http://schemas.microsoft.com/office/powerpoint/2010/main" val="36456382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essaggio chiave ITA">
    <p:spTree>
      <p:nvGrpSpPr>
        <p:cNvPr id="1" name=""/>
        <p:cNvGrpSpPr/>
        <p:nvPr/>
      </p:nvGrpSpPr>
      <p:grpSpPr>
        <a:xfrm>
          <a:off x="0" y="0"/>
          <a:ext cx="0" cy="0"/>
          <a:chOff x="0" y="0"/>
          <a:chExt cx="0" cy="0"/>
        </a:xfrm>
      </p:grpSpPr>
      <p:cxnSp>
        <p:nvCxnSpPr>
          <p:cNvPr id="3" name="Connettore diritto 2">
            <a:extLst>
              <a:ext uri="{FF2B5EF4-FFF2-40B4-BE49-F238E27FC236}">
                <a16:creationId xmlns:a16="http://schemas.microsoft.com/office/drawing/2014/main" id="{480F71A9-D972-4409-A7C4-6DA65A4DD8BA}"/>
              </a:ext>
            </a:extLst>
          </p:cNvPr>
          <p:cNvCxnSpPr>
            <a:cxnSpLocks/>
          </p:cNvCxnSpPr>
          <p:nvPr userDrawn="1"/>
        </p:nvCxnSpPr>
        <p:spPr>
          <a:xfrm>
            <a:off x="399888" y="4123948"/>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
        <p:nvSpPr>
          <p:cNvPr id="4" name="Titolo 3">
            <a:extLst>
              <a:ext uri="{FF2B5EF4-FFF2-40B4-BE49-F238E27FC236}">
                <a16:creationId xmlns:a16="http://schemas.microsoft.com/office/drawing/2014/main" id="{A513269F-8769-4D15-BDFB-860623E861C9}"/>
              </a:ext>
            </a:extLst>
          </p:cNvPr>
          <p:cNvSpPr>
            <a:spLocks noGrp="1"/>
          </p:cNvSpPr>
          <p:nvPr>
            <p:ph type="title"/>
          </p:nvPr>
        </p:nvSpPr>
        <p:spPr>
          <a:xfrm>
            <a:off x="403315" y="884594"/>
            <a:ext cx="11380699" cy="3239349"/>
          </a:xfrm>
          <a:prstGeom prst="rect">
            <a:avLst/>
          </a:prstGeom>
        </p:spPr>
        <p:txBody>
          <a:bodyPr vert="horz" lIns="91440" tIns="45720" rIns="91440" bIns="45720" rtlCol="0" anchor="ctr">
            <a:noAutofit/>
          </a:bodyPr>
          <a:lstStyle>
            <a:lvl1pPr algn="ctr" rtl="0" eaLnBrk="0" fontAlgn="base" hangingPunct="0">
              <a:spcBef>
                <a:spcPct val="0"/>
              </a:spcBef>
              <a:spcAft>
                <a:spcPct val="0"/>
              </a:spcAft>
              <a:defRPr sz="3200">
                <a:solidFill>
                  <a:srgbClr val="F47B20"/>
                </a:solidFill>
                <a:latin typeface="+mn-lt"/>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Tree>
    <p:extLst>
      <p:ext uri="{BB962C8B-B14F-4D97-AF65-F5344CB8AC3E}">
        <p14:creationId xmlns:p14="http://schemas.microsoft.com/office/powerpoint/2010/main" val="1249045269"/>
      </p:ext>
    </p:extLst>
  </p:cSld>
  <p:clrMapOvr>
    <a:masterClrMapping/>
  </p:clrMapOvr>
  <p:extLst>
    <p:ext uri="{DCECCB84-F9BA-43D5-87BE-67443E8EF086}">
      <p15:sldGuideLst xmlns:p15="http://schemas.microsoft.com/office/powerpoint/2012/main">
        <p15:guide id="1" orient="horz" pos="1933" userDrawn="1">
          <p15:clr>
            <a:srgbClr val="FBAE40"/>
          </p15:clr>
        </p15:guide>
        <p15:guide id="2" pos="551"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Ultima ENG">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pic>
        <p:nvPicPr>
          <p:cNvPr id="17" name="Immagine 16" descr="Immagine che contiene testo&#10;&#10;Descrizione generata automaticamente">
            <a:extLst>
              <a:ext uri="{FF2B5EF4-FFF2-40B4-BE49-F238E27FC236}">
                <a16:creationId xmlns:a16="http://schemas.microsoft.com/office/drawing/2014/main" id="{5BE25C0C-F577-4EE2-84EA-BCA174D5228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0764" y="6074303"/>
            <a:ext cx="1186437" cy="542234"/>
          </a:xfrm>
          <a:prstGeom prst="rect">
            <a:avLst/>
          </a:prstGeom>
        </p:spPr>
      </p:pic>
      <p:pic>
        <p:nvPicPr>
          <p:cNvPr id="18" name="Immagine 17">
            <a:extLst>
              <a:ext uri="{FF2B5EF4-FFF2-40B4-BE49-F238E27FC236}">
                <a16:creationId xmlns:a16="http://schemas.microsoft.com/office/drawing/2014/main" id="{3F3B73F4-0B4C-40E3-95F7-50E353363253}"/>
              </a:ext>
            </a:extLst>
          </p:cNvPr>
          <p:cNvPicPr>
            <a:picLocks noChangeAspect="1"/>
          </p:cNvPicPr>
          <p:nvPr userDrawn="1"/>
        </p:nvPicPr>
        <p:blipFill>
          <a:blip r:embed="rId4"/>
          <a:stretch>
            <a:fillRect/>
          </a:stretch>
        </p:blipFill>
        <p:spPr>
          <a:xfrm>
            <a:off x="9755686" y="449723"/>
            <a:ext cx="1801372" cy="365761"/>
          </a:xfrm>
          <a:prstGeom prst="rect">
            <a:avLst/>
          </a:prstGeom>
        </p:spPr>
      </p:pic>
      <p:sp>
        <p:nvSpPr>
          <p:cNvPr id="19" name="CasellaDiTesto 18">
            <a:extLst>
              <a:ext uri="{FF2B5EF4-FFF2-40B4-BE49-F238E27FC236}">
                <a16:creationId xmlns:a16="http://schemas.microsoft.com/office/drawing/2014/main" id="{4BE889EA-BA37-4F96-B04C-15487D8FAE5F}"/>
              </a:ext>
            </a:extLst>
          </p:cNvPr>
          <p:cNvSpPr txBox="1"/>
          <p:nvPr userDrawn="1"/>
        </p:nvSpPr>
        <p:spPr>
          <a:xfrm>
            <a:off x="1837662" y="3988926"/>
            <a:ext cx="8516679" cy="792589"/>
          </a:xfrm>
          <a:prstGeom prst="rect">
            <a:avLst/>
          </a:prstGeom>
          <a:noFill/>
        </p:spPr>
        <p:txBody>
          <a:bodyPr wrap="square">
            <a:spAutoFit/>
          </a:bodyPr>
          <a:lstStyle/>
          <a:p>
            <a:pPr algn="ctr">
              <a:lnSpc>
                <a:spcPct val="130000"/>
              </a:lnSpc>
            </a:pPr>
            <a:r>
              <a:rPr lang="en-US" sz="1200" i="1">
                <a:solidFill>
                  <a:srgbClr val="001E60"/>
                </a:solidFill>
                <a:latin typeface="Source Sans Pro" panose="020B0503030403020204" pitchFamily="34" charset="0"/>
                <a:ea typeface="Source Sans Pro" panose="020B0503030403020204" pitchFamily="34" charset="0"/>
              </a:rPr>
              <a:t>Again in 2021, for the eighth consecutive year, </a:t>
            </a:r>
            <a:r>
              <a:rPr lang="en-US" sz="1200" b="1" i="1">
                <a:solidFill>
                  <a:srgbClr val="001E60"/>
                </a:solidFill>
                <a:latin typeface="Source Sans Pro" panose="020B0503030403020204" pitchFamily="34" charset="0"/>
                <a:ea typeface="Source Sans Pro" panose="020B0503030403020204" pitchFamily="34" charset="0"/>
              </a:rPr>
              <a:t>The European House – </a:t>
            </a:r>
            <a:r>
              <a:rPr lang="en-US" sz="1200" b="1" i="1" err="1">
                <a:solidFill>
                  <a:srgbClr val="001E60"/>
                </a:solidFill>
                <a:latin typeface="Source Sans Pro" panose="020B0503030403020204" pitchFamily="34" charset="0"/>
                <a:ea typeface="Source Sans Pro" panose="020B0503030403020204" pitchFamily="34" charset="0"/>
              </a:rPr>
              <a:t>Ambrosetti</a:t>
            </a:r>
            <a:r>
              <a:rPr lang="en-US" sz="1200" b="1" i="1">
                <a:solidFill>
                  <a:srgbClr val="001E60"/>
                </a:solidFill>
                <a:latin typeface="Source Sans Pro" panose="020B0503030403020204" pitchFamily="34" charset="0"/>
                <a:ea typeface="Source Sans Pro" panose="020B0503030403020204" pitchFamily="34" charset="0"/>
              </a:rPr>
              <a:t> was named</a:t>
            </a:r>
            <a:r>
              <a:rPr lang="en-US" sz="1200" i="1">
                <a:solidFill>
                  <a:srgbClr val="001E60"/>
                </a:solidFill>
                <a:latin typeface="Source Sans Pro" panose="020B0503030403020204" pitchFamily="34" charset="0"/>
                <a:ea typeface="Source Sans Pro" panose="020B0503030403020204" pitchFamily="34" charset="0"/>
              </a:rPr>
              <a:t> — in the category “Best Private Think Tanks” — </a:t>
            </a:r>
            <a:r>
              <a:rPr lang="en-US" sz="1200" b="1" i="1">
                <a:solidFill>
                  <a:srgbClr val="001E60"/>
                </a:solidFill>
                <a:latin typeface="Source Sans Pro" panose="020B0503030403020204" pitchFamily="34" charset="0"/>
                <a:ea typeface="Source Sans Pro" panose="020B0503030403020204" pitchFamily="34" charset="0"/>
              </a:rPr>
              <a:t>the no. 1 think tank in Italy, the no. 4 think tank in the European Union and among the most respected independents in the world out of 11,175 on a global level in the latest “Global Go To Think Tanks Report”</a:t>
            </a:r>
            <a:r>
              <a:rPr lang="en-US" sz="1200" i="1">
                <a:solidFill>
                  <a:srgbClr val="001E60"/>
                </a:solidFill>
                <a:latin typeface="Source Sans Pro" panose="020B0503030403020204" pitchFamily="34" charset="0"/>
                <a:ea typeface="Source Sans Pro" panose="020B0503030403020204" pitchFamily="34" charset="0"/>
              </a:rPr>
              <a:t> of the University of Pennsylvania.</a:t>
            </a:r>
          </a:p>
        </p:txBody>
      </p:sp>
    </p:spTree>
    <p:extLst>
      <p:ext uri="{BB962C8B-B14F-4D97-AF65-F5344CB8AC3E}">
        <p14:creationId xmlns:p14="http://schemas.microsoft.com/office/powerpoint/2010/main" val="16316441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Contenuto di testo">
    <p:spTree>
      <p:nvGrpSpPr>
        <p:cNvPr id="1" name=""/>
        <p:cNvGrpSpPr/>
        <p:nvPr/>
      </p:nvGrpSpPr>
      <p:grpSpPr>
        <a:xfrm>
          <a:off x="0" y="0"/>
          <a:ext cx="0" cy="0"/>
          <a:chOff x="0" y="0"/>
          <a:chExt cx="0" cy="0"/>
        </a:xfrm>
      </p:grpSpPr>
      <p:sp>
        <p:nvSpPr>
          <p:cNvPr id="41" name="Titolo Testo"/>
          <p:cNvSpPr txBox="1">
            <a:spLocks noGrp="1"/>
          </p:cNvSpPr>
          <p:nvPr>
            <p:ph type="title"/>
          </p:nvPr>
        </p:nvSpPr>
        <p:spPr>
          <a:prstGeom prst="rect">
            <a:avLst/>
          </a:prstGeom>
        </p:spPr>
        <p:txBody>
          <a:bodyPr/>
          <a:lstStyle/>
          <a:p>
            <a:r>
              <a:rPr err="1"/>
              <a:t>Titolo</a:t>
            </a:r>
            <a:r>
              <a:t> </a:t>
            </a:r>
            <a:r>
              <a:rPr err="1"/>
              <a:t>Testo</a:t>
            </a:r>
            <a:endParaRPr/>
          </a:p>
        </p:txBody>
      </p:sp>
      <p:sp>
        <p:nvSpPr>
          <p:cNvPr id="42" name="Segnaposto testo 8"/>
          <p:cNvSpPr>
            <a:spLocks noGrp="1"/>
          </p:cNvSpPr>
          <p:nvPr>
            <p:ph type="body" sz="half" idx="21"/>
          </p:nvPr>
        </p:nvSpPr>
        <p:spPr>
          <a:xfrm>
            <a:off x="1849042" y="2008146"/>
            <a:ext cx="9836946" cy="3371319"/>
          </a:xfrm>
          <a:prstGeom prst="rect">
            <a:avLst/>
          </a:prstGeom>
        </p:spPr>
        <p:txBody>
          <a:bodyPr anchor="t"/>
          <a:lstStyle/>
          <a:p>
            <a:pPr>
              <a:lnSpc>
                <a:spcPct val="100000"/>
              </a:lnSpc>
              <a:defRPr>
                <a:solidFill>
                  <a:srgbClr val="898988"/>
                </a:solidFill>
                <a:latin typeface="Raleway"/>
                <a:ea typeface="Raleway"/>
                <a:cs typeface="Raleway"/>
                <a:sym typeface="Raleway"/>
              </a:defRPr>
            </a:pPr>
            <a:endParaRPr/>
          </a:p>
        </p:txBody>
      </p:sp>
      <p:pic>
        <p:nvPicPr>
          <p:cNvPr id="7" name="Google Shape;40;p5" descr="Immagine"/>
          <p:cNvPicPr preferRelativeResize="0"/>
          <p:nvPr userDrawn="1"/>
        </p:nvPicPr>
        <p:blipFill rotWithShape="1">
          <a:blip r:embed="rId2">
            <a:alphaModFix/>
          </a:blip>
          <a:srcRect/>
          <a:stretch/>
        </p:blipFill>
        <p:spPr>
          <a:xfrm>
            <a:off x="9995553" y="6217100"/>
            <a:ext cx="1582996" cy="609533"/>
          </a:xfrm>
          <a:prstGeom prst="rect">
            <a:avLst/>
          </a:prstGeom>
          <a:noFill/>
          <a:ln>
            <a:noFill/>
          </a:ln>
        </p:spPr>
      </p:pic>
      <p:sp>
        <p:nvSpPr>
          <p:cNvPr id="8" name="Google Shape;41;p5"/>
          <p:cNvSpPr txBox="1">
            <a:spLocks/>
          </p:cNvSpPr>
          <p:nvPr userDrawn="1"/>
        </p:nvSpPr>
        <p:spPr>
          <a:xfrm>
            <a:off x="881476" y="6164916"/>
            <a:ext cx="459644" cy="357805"/>
          </a:xfrm>
          <a:prstGeom prst="rect">
            <a:avLst/>
          </a:prstGeom>
          <a:noFill/>
          <a:ln w="12700">
            <a:noFill/>
            <a:miter lim="400000"/>
          </a:ln>
        </p:spPr>
        <p:txBody>
          <a:bodyPr spcFirstLastPara="1" wrap="square" lIns="60933" tIns="60933" rIns="60933" bIns="60933" anchor="ctr"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lvl="0"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1pPr>
            <a:lvl2pPr marL="0" marR="0" lvl="1"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2pPr>
            <a:lvl3pPr marL="0" marR="0" lvl="2"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3pPr>
            <a:lvl4pPr marL="0" marR="0" lvl="3"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4pPr>
            <a:lvl5pPr marL="0" marR="0" lvl="4"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5pPr>
            <a:lvl6pPr marL="0" marR="0" lvl="5"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6pPr>
            <a:lvl7pPr marL="0" marR="0" lvl="6"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7pPr>
            <a:lvl8pPr marL="0" marR="0" lvl="7"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8pPr>
            <a:lvl9pPr marL="0" marR="0" lvl="8"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9pPr>
          </a:lstStyle>
          <a:p>
            <a:fld id="{00000000-1234-1234-1234-123412341234}" type="slidenum">
              <a:rPr lang="en-US" sz="1200" b="0" smtClean="0"/>
              <a:pPr/>
              <a:t>‹N›</a:t>
            </a:fld>
            <a:endParaRPr lang="en-US" sz="1200" b="0"/>
          </a:p>
        </p:txBody>
      </p:sp>
    </p:spTree>
    <p:extLst>
      <p:ext uri="{BB962C8B-B14F-4D97-AF65-F5344CB8AC3E}">
        <p14:creationId xmlns:p14="http://schemas.microsoft.com/office/powerpoint/2010/main" val="1119806775"/>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BASE">
    <p:spTree>
      <p:nvGrpSpPr>
        <p:cNvPr id="1" name=""/>
        <p:cNvGrpSpPr/>
        <p:nvPr/>
      </p:nvGrpSpPr>
      <p:grpSpPr>
        <a:xfrm>
          <a:off x="0" y="0"/>
          <a:ext cx="0" cy="0"/>
          <a:chOff x="0" y="0"/>
          <a:chExt cx="0" cy="0"/>
        </a:xfrm>
      </p:grpSpPr>
      <p:pic>
        <p:nvPicPr>
          <p:cNvPr id="60" name="Immagine" descr="Immagine"/>
          <p:cNvPicPr>
            <a:picLocks noChangeAspect="1"/>
          </p:cNvPicPr>
          <p:nvPr/>
        </p:nvPicPr>
        <p:blipFill>
          <a:blip r:embed="rId2"/>
          <a:stretch>
            <a:fillRect/>
          </a:stretch>
        </p:blipFill>
        <p:spPr>
          <a:xfrm>
            <a:off x="454617" y="437911"/>
            <a:ext cx="1150610" cy="1095221"/>
          </a:xfrm>
          <a:prstGeom prst="rect">
            <a:avLst/>
          </a:prstGeom>
          <a:ln w="12700">
            <a:miter lim="400000"/>
          </a:ln>
        </p:spPr>
      </p:pic>
      <p:pic>
        <p:nvPicPr>
          <p:cNvPr id="66" name="Immagine" descr="Immagine"/>
          <p:cNvPicPr>
            <a:picLocks noChangeAspect="1"/>
          </p:cNvPicPr>
          <p:nvPr/>
        </p:nvPicPr>
        <p:blipFill>
          <a:blip r:embed="rId3"/>
          <a:stretch>
            <a:fillRect/>
          </a:stretch>
        </p:blipFill>
        <p:spPr>
          <a:xfrm>
            <a:off x="11228601" y="663500"/>
            <a:ext cx="453728" cy="711779"/>
          </a:xfrm>
          <a:prstGeom prst="rect">
            <a:avLst/>
          </a:prstGeom>
          <a:ln w="12700">
            <a:miter lim="400000"/>
          </a:ln>
        </p:spPr>
      </p:pic>
      <p:sp>
        <p:nvSpPr>
          <p:cNvPr id="68" name="Titolo Testo"/>
          <p:cNvSpPr txBox="1">
            <a:spLocks noGrp="1"/>
          </p:cNvSpPr>
          <p:nvPr>
            <p:ph type="title" hasCustomPrompt="1"/>
          </p:nvPr>
        </p:nvSpPr>
        <p:spPr>
          <a:xfrm>
            <a:off x="1852934" y="614856"/>
            <a:ext cx="9375668" cy="470401"/>
          </a:xfrm>
          <a:prstGeom prst="rect">
            <a:avLst/>
          </a:prstGeom>
        </p:spPr>
        <p:txBody>
          <a:bodyPr anchor="t">
            <a:noAutofit/>
          </a:bodyPr>
          <a:lstStyle/>
          <a:p>
            <a:r>
              <a:t>Titolo Testo</a:t>
            </a:r>
          </a:p>
        </p:txBody>
      </p:sp>
      <p:sp>
        <p:nvSpPr>
          <p:cNvPr id="12" name="Google Shape;35;p5"/>
          <p:cNvSpPr/>
          <p:nvPr userDrawn="1"/>
        </p:nvSpPr>
        <p:spPr>
          <a:xfrm>
            <a:off x="-5644" y="6165977"/>
            <a:ext cx="11695598" cy="711780"/>
          </a:xfrm>
          <a:prstGeom prst="rect">
            <a:avLst/>
          </a:prstGeom>
          <a:solidFill>
            <a:srgbClr val="3F847E"/>
          </a:solidFill>
          <a:ln>
            <a:noFill/>
          </a:ln>
        </p:spPr>
        <p:txBody>
          <a:bodyPr spcFirstLastPara="1" wrap="square" lIns="60933" tIns="60933" rIns="60933" bIns="60933" anchor="ctr" anchorCtr="0">
            <a:noAutofit/>
          </a:bodyPr>
          <a:lstStyle/>
          <a:p>
            <a:pPr marL="0" marR="0" lvl="0" indent="0" algn="l" rtl="0">
              <a:lnSpc>
                <a:spcPct val="100000"/>
              </a:lnSpc>
              <a:spcBef>
                <a:spcPts val="0"/>
              </a:spcBef>
              <a:spcAft>
                <a:spcPts val="0"/>
              </a:spcAft>
              <a:buClr>
                <a:srgbClr val="0F3250"/>
              </a:buClr>
              <a:buSzPts val="1800"/>
              <a:buFont typeface="Calibri"/>
              <a:buNone/>
            </a:pPr>
            <a:endParaRPr sz="2400" b="0" i="0" u="none" strike="noStrike" cap="none">
              <a:solidFill>
                <a:srgbClr val="0F3250"/>
              </a:solidFill>
              <a:latin typeface="Calibri"/>
              <a:ea typeface="Calibri"/>
              <a:cs typeface="Calibri"/>
              <a:sym typeface="Calibri"/>
            </a:endParaRPr>
          </a:p>
        </p:txBody>
      </p:sp>
      <p:pic>
        <p:nvPicPr>
          <p:cNvPr id="13" name="Google Shape;40;p5" descr="Immagine"/>
          <p:cNvPicPr preferRelativeResize="0"/>
          <p:nvPr userDrawn="1"/>
        </p:nvPicPr>
        <p:blipFill rotWithShape="1">
          <a:blip r:embed="rId4">
            <a:alphaModFix/>
          </a:blip>
          <a:srcRect/>
          <a:stretch/>
        </p:blipFill>
        <p:spPr>
          <a:xfrm>
            <a:off x="9995553" y="6217100"/>
            <a:ext cx="1582996" cy="609533"/>
          </a:xfrm>
          <a:prstGeom prst="rect">
            <a:avLst/>
          </a:prstGeom>
          <a:noFill/>
          <a:ln>
            <a:noFill/>
          </a:ln>
        </p:spPr>
      </p:pic>
      <p:sp>
        <p:nvSpPr>
          <p:cNvPr id="15" name="Google Shape;41;p5">
            <a:extLst>
              <a:ext uri="{FF2B5EF4-FFF2-40B4-BE49-F238E27FC236}">
                <a16:creationId xmlns:a16="http://schemas.microsoft.com/office/drawing/2014/main" id="{BB5AFC65-E778-48CE-9D6D-3C6012A0DB4F}"/>
              </a:ext>
            </a:extLst>
          </p:cNvPr>
          <p:cNvSpPr txBox="1">
            <a:spLocks/>
          </p:cNvSpPr>
          <p:nvPr userDrawn="1"/>
        </p:nvSpPr>
        <p:spPr>
          <a:xfrm>
            <a:off x="881476" y="6164916"/>
            <a:ext cx="459644" cy="357805"/>
          </a:xfrm>
          <a:prstGeom prst="rect">
            <a:avLst/>
          </a:prstGeom>
          <a:noFill/>
          <a:ln w="12700">
            <a:noFill/>
            <a:miter lim="400000"/>
          </a:ln>
        </p:spPr>
        <p:txBody>
          <a:bodyPr spcFirstLastPara="1" wrap="square" lIns="60933" tIns="60933" rIns="60933" bIns="60933" anchor="ctr"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lvl="0"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1pPr>
            <a:lvl2pPr marL="0" marR="0" lvl="1"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2pPr>
            <a:lvl3pPr marL="0" marR="0" lvl="2"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3pPr>
            <a:lvl4pPr marL="0" marR="0" lvl="3"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4pPr>
            <a:lvl5pPr marL="0" marR="0" lvl="4"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5pPr>
            <a:lvl6pPr marL="0" marR="0" lvl="5"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6pPr>
            <a:lvl7pPr marL="0" marR="0" lvl="6"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7pPr>
            <a:lvl8pPr marL="0" marR="0" lvl="7"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8pPr>
            <a:lvl9pPr marL="0" marR="0" lvl="8" indent="0" algn="r" defTabSz="457200" rtl="0" fontAlgn="auto" latinLnBrk="0" hangingPunct="0">
              <a:lnSpc>
                <a:spcPct val="100000"/>
              </a:lnSpc>
              <a:spcBef>
                <a:spcPts val="0"/>
              </a:spcBef>
              <a:spcAft>
                <a:spcPts val="0"/>
              </a:spcAft>
              <a:buClr>
                <a:srgbClr val="FFFFFF"/>
              </a:buClr>
              <a:buSzPts val="900"/>
              <a:buFont typeface="Raleway"/>
              <a:buNone/>
              <a:tabLst/>
              <a:defRPr kumimoji="0" sz="900" b="0" i="0" u="none" strike="noStrike" cap="none" spc="0" normalizeH="0" baseline="0">
                <a:ln>
                  <a:noFill/>
                </a:ln>
                <a:solidFill>
                  <a:srgbClr val="FFFFFF"/>
                </a:solidFill>
                <a:effectLst/>
                <a:uFillTx/>
                <a:latin typeface="Raleway"/>
                <a:ea typeface="Raleway"/>
                <a:cs typeface="Raleway"/>
                <a:sym typeface="Raleway"/>
              </a:defRPr>
            </a:lvl9pPr>
          </a:lstStyle>
          <a:p>
            <a:fld id="{00000000-1234-1234-1234-123412341234}" type="slidenum">
              <a:rPr lang="en-US" sz="1200" b="0" smtClean="0"/>
              <a:pPr/>
              <a:t>‹N›</a:t>
            </a:fld>
            <a:endParaRPr lang="en-US" sz="1200" b="0"/>
          </a:p>
        </p:txBody>
      </p:sp>
    </p:spTree>
    <p:extLst>
      <p:ext uri="{BB962C8B-B14F-4D97-AF65-F5344CB8AC3E}">
        <p14:creationId xmlns:p14="http://schemas.microsoft.com/office/powerpoint/2010/main" val="3437849512"/>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iapositiva Numeri">
    <p:spTree>
      <p:nvGrpSpPr>
        <p:cNvPr id="1" name=""/>
        <p:cNvGrpSpPr/>
        <p:nvPr/>
      </p:nvGrpSpPr>
      <p:grpSpPr>
        <a:xfrm>
          <a:off x="0" y="0"/>
          <a:ext cx="0" cy="0"/>
          <a:chOff x="0" y="0"/>
          <a:chExt cx="0" cy="0"/>
        </a:xfrm>
      </p:grpSpPr>
      <p:sp>
        <p:nvSpPr>
          <p:cNvPr id="6" name="Titolo 4"/>
          <p:cNvSpPr>
            <a:spLocks noGrp="1"/>
          </p:cNvSpPr>
          <p:nvPr>
            <p:ph type="title"/>
          </p:nvPr>
        </p:nvSpPr>
        <p:spPr>
          <a:xfrm>
            <a:off x="423992" y="692696"/>
            <a:ext cx="11344030" cy="504056"/>
          </a:xfrm>
          <a:prstGeom prst="rect">
            <a:avLst/>
          </a:prstGeom>
        </p:spPr>
        <p:txBody>
          <a:bodyPr/>
          <a:lstStyle>
            <a:lvl1pPr>
              <a:defRPr sz="2400"/>
            </a:lvl1pPr>
          </a:lstStyle>
          <a:p>
            <a:r>
              <a:rPr lang="it-IT"/>
              <a:t>Fare clic per modificare lo stile del titolo</a:t>
            </a:r>
          </a:p>
        </p:txBody>
      </p:sp>
      <p:sp>
        <p:nvSpPr>
          <p:cNvPr id="4" name="Segnaposto testo 14"/>
          <p:cNvSpPr>
            <a:spLocks noGrp="1"/>
          </p:cNvSpPr>
          <p:nvPr>
            <p:ph type="body" sz="quarter" idx="10"/>
          </p:nvPr>
        </p:nvSpPr>
        <p:spPr>
          <a:xfrm>
            <a:off x="423992" y="1772817"/>
            <a:ext cx="11344030" cy="4399387"/>
          </a:xfrm>
          <a:prstGeom prst="rect">
            <a:avLst/>
          </a:prstGeom>
        </p:spPr>
        <p:txBody>
          <a:bodyPr/>
          <a:lstStyle>
            <a:lvl1pPr marL="269886" indent="-269886">
              <a:buFont typeface="Wingdings" pitchFamily="2" charset="2"/>
              <a:buChar char="§"/>
              <a:defRPr sz="2400">
                <a:solidFill>
                  <a:srgbClr val="003A80"/>
                </a:solidFill>
              </a:defRPr>
            </a:lvl1pPr>
            <a:lvl2pPr marL="541360" indent="-271474">
              <a:buSzPct val="70000"/>
              <a:buFont typeface="Tahoma" pitchFamily="34" charset="0"/>
              <a:buChar char="□"/>
              <a:defRPr sz="2400">
                <a:solidFill>
                  <a:srgbClr val="003A80"/>
                </a:solidFill>
              </a:defRPr>
            </a:lvl2pPr>
            <a:lvl3pPr marL="804894" indent="-263536">
              <a:buClr>
                <a:srgbClr val="F47B20"/>
              </a:buClr>
              <a:buSzPct val="70000"/>
              <a:buFont typeface="Tahoma" pitchFamily="34" charset="0"/>
              <a:buChar char="−"/>
              <a:defRPr sz="2400">
                <a:solidFill>
                  <a:srgbClr val="003A80"/>
                </a:solidFill>
              </a:defRPr>
            </a:lvl3pPr>
            <a:lvl4pPr marL="1074778" indent="-355615">
              <a:buClr>
                <a:srgbClr val="F47B20"/>
              </a:buClr>
              <a:defRPr sz="2400"/>
            </a:lvl4pPr>
          </a:lstStyle>
          <a:p>
            <a:pPr lvl="0"/>
            <a:r>
              <a:rPr lang="it-IT"/>
              <a:t>Fare clic per modificare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32122485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Titolo e contenuto">
    <p:spTree>
      <p:nvGrpSpPr>
        <p:cNvPr id="1" name=""/>
        <p:cNvGrpSpPr/>
        <p:nvPr/>
      </p:nvGrpSpPr>
      <p:grpSpPr>
        <a:xfrm>
          <a:off x="0" y="0"/>
          <a:ext cx="0" cy="0"/>
          <a:chOff x="0" y="0"/>
          <a:chExt cx="0" cy="0"/>
        </a:xfrm>
      </p:grpSpPr>
      <p:sp>
        <p:nvSpPr>
          <p:cNvPr id="8"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9"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spTree>
    <p:extLst>
      <p:ext uri="{BB962C8B-B14F-4D97-AF65-F5344CB8AC3E}">
        <p14:creationId xmlns:p14="http://schemas.microsoft.com/office/powerpoint/2010/main" val="11988542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apositiva Titolo">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0" name="CasellaDiTesto 9">
            <a:extLst>
              <a:ext uri="{FF2B5EF4-FFF2-40B4-BE49-F238E27FC236}">
                <a16:creationId xmlns:a16="http://schemas.microsoft.com/office/drawing/2014/main" id="{E48C28C1-455E-4BEB-AA3B-64852673EE1D}"/>
              </a:ext>
            </a:extLst>
          </p:cNvPr>
          <p:cNvSpPr txBox="1"/>
          <p:nvPr userDrawn="1"/>
        </p:nvSpPr>
        <p:spPr>
          <a:xfrm>
            <a:off x="7108372" y="6436915"/>
            <a:ext cx="3922681" cy="230832"/>
          </a:xfrm>
          <a:prstGeom prst="rect">
            <a:avLst/>
          </a:prstGeom>
          <a:noFill/>
        </p:spPr>
        <p:txBody>
          <a:bodyPr wrap="square" rtlCol="0">
            <a:spAutoFit/>
          </a:bodyPr>
          <a:lstStyle/>
          <a:p>
            <a:pPr algn="r"/>
            <a:r>
              <a:rPr lang="en-US" sz="900">
                <a:solidFill>
                  <a:srgbClr val="001E60"/>
                </a:solidFill>
                <a:latin typeface="Source Sans Pro SemiBold" panose="020B0603030403020204" pitchFamily="34" charset="0"/>
                <a:ea typeface="Source Sans Pro SemiBold" panose="020B0603030403020204" pitchFamily="34" charset="0"/>
              </a:rPr>
              <a:t>If a man does not know to which port he is steering, no wind is favorable</a:t>
            </a:r>
          </a:p>
        </p:txBody>
      </p:sp>
      <p:sp>
        <p:nvSpPr>
          <p:cNvPr id="11" name="CasellaDiTesto 10">
            <a:extLst>
              <a:ext uri="{FF2B5EF4-FFF2-40B4-BE49-F238E27FC236}">
                <a16:creationId xmlns:a16="http://schemas.microsoft.com/office/drawing/2014/main" id="{2D942B9A-A55E-4682-A543-6D063B114899}"/>
              </a:ext>
            </a:extLst>
          </p:cNvPr>
          <p:cNvSpPr txBox="1"/>
          <p:nvPr userDrawn="1"/>
        </p:nvSpPr>
        <p:spPr>
          <a:xfrm>
            <a:off x="5399122" y="500479"/>
            <a:ext cx="6337198" cy="276999"/>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1E60"/>
                </a:solidFill>
                <a:effectLst/>
                <a:uLnTx/>
                <a:uFillTx/>
                <a:latin typeface="Source Sans Pro"/>
                <a:ea typeface="Source Sans Pro SemiBold" panose="020B0603030403020204" pitchFamily="34" charset="0"/>
                <a:cs typeface="+mn-cs"/>
              </a:rPr>
              <a:t>THINK TANK  |  MANAGEMENT CONSULTING  |  LEADERS’ EDUCATION  |  SUMMIT</a:t>
            </a:r>
          </a:p>
        </p:txBody>
      </p:sp>
      <p:sp>
        <p:nvSpPr>
          <p:cNvPr id="12" name="CasellaDiTesto 11">
            <a:extLst>
              <a:ext uri="{FF2B5EF4-FFF2-40B4-BE49-F238E27FC236}">
                <a16:creationId xmlns:a16="http://schemas.microsoft.com/office/drawing/2014/main" id="{23C36DDE-09C7-41CB-9CBE-B45153495ED5}"/>
              </a:ext>
            </a:extLst>
          </p:cNvPr>
          <p:cNvSpPr txBox="1"/>
          <p:nvPr userDrawn="1"/>
        </p:nvSpPr>
        <p:spPr>
          <a:xfrm>
            <a:off x="240886" y="6474566"/>
            <a:ext cx="1479644" cy="200055"/>
          </a:xfrm>
          <a:prstGeom prst="rect">
            <a:avLst/>
          </a:prstGeom>
          <a:solidFill>
            <a:schemeClr val="bg1"/>
          </a:solid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2021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All</a:t>
            </a: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rights</a:t>
            </a: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a:t>
            </a:r>
            <a:r>
              <a:rPr kumimoji="0" lang="it-IT" sz="700" b="0" i="0" u="none" strike="noStrike" kern="1200" cap="none" spc="0" normalizeH="0" baseline="0" noProof="0" err="1">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reserved</a:t>
            </a:r>
            <a:endPar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endParaRP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pic>
        <p:nvPicPr>
          <p:cNvPr id="3" name="Picture 2" descr="A logo for a hotel&#10;&#10;Description automatically generated">
            <a:extLst>
              <a:ext uri="{FF2B5EF4-FFF2-40B4-BE49-F238E27FC236}">
                <a16:creationId xmlns:a16="http://schemas.microsoft.com/office/drawing/2014/main" id="{AF1AA52D-1F29-BA58-1F84-7DCA05BA6A2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4930" t="42397" r="9728" b="32135"/>
          <a:stretch/>
        </p:blipFill>
        <p:spPr>
          <a:xfrm>
            <a:off x="487424" y="389698"/>
            <a:ext cx="2466212" cy="496161"/>
          </a:xfrm>
          <a:prstGeom prst="rect">
            <a:avLst/>
          </a:prstGeom>
        </p:spPr>
      </p:pic>
    </p:spTree>
    <p:extLst>
      <p:ext uri="{BB962C8B-B14F-4D97-AF65-F5344CB8AC3E}">
        <p14:creationId xmlns:p14="http://schemas.microsoft.com/office/powerpoint/2010/main" val="36177756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4B0247E-C23A-4A31-B60B-C6B02AC79597}"/>
              </a:ext>
            </a:extLst>
          </p:cNvPr>
          <p:cNvSpPr>
            <a:spLocks noGrp="1"/>
          </p:cNvSpPr>
          <p:nvPr>
            <p:ph type="title"/>
          </p:nvPr>
        </p:nvSpPr>
        <p:spPr>
          <a:xfrm>
            <a:off x="419896" y="332656"/>
            <a:ext cx="11352212" cy="576263"/>
          </a:xfrm>
          <a:prstGeom prst="rect">
            <a:avLst/>
          </a:prstGeom>
        </p:spPr>
        <p:txBody>
          <a:bodyPr/>
          <a:lstStyle>
            <a:lvl1pPr>
              <a:defRPr sz="3200">
                <a:solidFill>
                  <a:srgbClr val="F47B20"/>
                </a:solidFill>
                <a:latin typeface="Source Sans Pro SemiBold" panose="020B0603030403020204" pitchFamily="34" charset="0"/>
                <a:ea typeface="Source Sans Pro SemiBold" panose="020B0603030403020204" pitchFamily="34" charset="0"/>
              </a:defRPr>
            </a:lvl1pPr>
          </a:lstStyle>
          <a:p>
            <a:r>
              <a:rPr lang="it-IT"/>
              <a:t>Fare clic per modificare lo stile del titolo dello schema</a:t>
            </a:r>
          </a:p>
        </p:txBody>
      </p:sp>
    </p:spTree>
    <p:extLst>
      <p:ext uri="{BB962C8B-B14F-4D97-AF65-F5344CB8AC3E}">
        <p14:creationId xmlns:p14="http://schemas.microsoft.com/office/powerpoint/2010/main" val="20860734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olo 2 righ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19896" y="260649"/>
            <a:ext cx="11352212" cy="576263"/>
          </a:xfrm>
          <a:prstGeom prst="rect">
            <a:avLst/>
          </a:prstGeom>
        </p:spPr>
        <p:txBody>
          <a:bodyPr/>
          <a:lstStyle>
            <a:lvl1pPr>
              <a:defRPr sz="2800">
                <a:solidFill>
                  <a:srgbClr val="F47B20"/>
                </a:solidFill>
                <a:latin typeface="Source Sans Pro SemiBold" panose="020B0603030403020204" pitchFamily="34" charset="0"/>
                <a:ea typeface="Source Sans Pro SemiBold" panose="020B0603030403020204" pitchFamily="34" charset="0"/>
              </a:defRPr>
            </a:lvl1pPr>
          </a:lstStyle>
          <a:p>
            <a:r>
              <a:rPr lang="it-IT"/>
              <a:t>Fare clic per modificare lo stile del titolo dello schema</a:t>
            </a:r>
            <a:br>
              <a:rPr lang="it-IT"/>
            </a:br>
            <a:br>
              <a:rPr lang="it-IT"/>
            </a:br>
            <a:endParaRPr lang="it-IT"/>
          </a:p>
        </p:txBody>
      </p:sp>
    </p:spTree>
    <p:extLst>
      <p:ext uri="{BB962C8B-B14F-4D97-AF65-F5344CB8AC3E}">
        <p14:creationId xmlns:p14="http://schemas.microsoft.com/office/powerpoint/2010/main" val="156726325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20D817E-C4FA-4351-999F-7171C217DD33}"/>
              </a:ext>
            </a:extLst>
          </p:cNvPr>
          <p:cNvSpPr>
            <a:spLocks noGrp="1"/>
          </p:cNvSpPr>
          <p:nvPr>
            <p:ph type="title"/>
          </p:nvPr>
        </p:nvSpPr>
        <p:spPr>
          <a:xfrm>
            <a:off x="407369" y="365126"/>
            <a:ext cx="10946432" cy="543595"/>
          </a:xfrm>
          <a:prstGeom prst="rect">
            <a:avLst/>
          </a:prstGeom>
        </p:spPr>
        <p:txBody>
          <a:bodyPr/>
          <a:lstStyle/>
          <a:p>
            <a:r>
              <a:rPr lang="it-IT"/>
              <a:t>Fare clic per modificare lo stile del titolo dello schema</a:t>
            </a:r>
          </a:p>
        </p:txBody>
      </p:sp>
    </p:spTree>
    <p:extLst>
      <p:ext uri="{BB962C8B-B14F-4D97-AF65-F5344CB8AC3E}">
        <p14:creationId xmlns:p14="http://schemas.microsoft.com/office/powerpoint/2010/main" val="12343729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apositiva Obiettivi">
    <p:spTree>
      <p:nvGrpSpPr>
        <p:cNvPr id="1" name=""/>
        <p:cNvGrpSpPr/>
        <p:nvPr/>
      </p:nvGrpSpPr>
      <p:grpSpPr>
        <a:xfrm>
          <a:off x="0" y="0"/>
          <a:ext cx="0" cy="0"/>
          <a:chOff x="0" y="0"/>
          <a:chExt cx="0" cy="0"/>
        </a:xfrm>
      </p:grpSpPr>
      <p:sp>
        <p:nvSpPr>
          <p:cNvPr id="9" name="Segnaposto testo 10"/>
          <p:cNvSpPr>
            <a:spLocks noGrp="1"/>
          </p:cNvSpPr>
          <p:nvPr>
            <p:ph type="body" sz="quarter" idx="11"/>
          </p:nvPr>
        </p:nvSpPr>
        <p:spPr>
          <a:xfrm>
            <a:off x="335361" y="2141538"/>
            <a:ext cx="10191902" cy="2663998"/>
          </a:xfrm>
          <a:prstGeom prst="rect">
            <a:avLst/>
          </a:prstGeom>
        </p:spPr>
        <p:txBody>
          <a:bodyPr/>
          <a:lstStyle>
            <a:lvl1pPr>
              <a:spcBef>
                <a:spcPts val="738"/>
              </a:spcBef>
              <a:spcAft>
                <a:spcPts val="738"/>
              </a:spcAft>
              <a:buFontTx/>
              <a:buBlip>
                <a:blip r:embed="rId2"/>
              </a:buBlip>
              <a:defRPr sz="2000" baseline="0">
                <a:solidFill>
                  <a:srgbClr val="003A80"/>
                </a:solidFill>
              </a:defRPr>
            </a:lvl1pPr>
            <a:lvl2pPr>
              <a:buFont typeface="Arial" pitchFamily="34" charset="0"/>
              <a:buNone/>
              <a:defRPr sz="2955"/>
            </a:lvl2pPr>
            <a:lvl3pPr>
              <a:defRPr sz="2955"/>
            </a:lvl3pPr>
            <a:lvl4pPr>
              <a:defRPr sz="2955"/>
            </a:lvl4pPr>
            <a:lvl5pPr>
              <a:defRPr sz="2955"/>
            </a:lvl5pPr>
          </a:lstStyle>
          <a:p>
            <a:pPr lvl="0"/>
            <a:r>
              <a:rPr lang="it-IT"/>
              <a:t>Fare clic per modificare stili del testo dello schema</a:t>
            </a:r>
          </a:p>
          <a:p>
            <a:pPr lvl="0"/>
            <a:endParaRPr lang="it-IT"/>
          </a:p>
        </p:txBody>
      </p:sp>
      <p:sp>
        <p:nvSpPr>
          <p:cNvPr id="4" name="Titolo 4"/>
          <p:cNvSpPr>
            <a:spLocks noGrp="1"/>
          </p:cNvSpPr>
          <p:nvPr>
            <p:ph type="title"/>
          </p:nvPr>
        </p:nvSpPr>
        <p:spPr>
          <a:xfrm>
            <a:off x="423989" y="692696"/>
            <a:ext cx="11344030" cy="504056"/>
          </a:xfrm>
          <a:prstGeom prst="rect">
            <a:avLst/>
          </a:prstGeom>
        </p:spPr>
        <p:txBody>
          <a:bodyPr/>
          <a:lstStyle>
            <a:lvl1pPr>
              <a:defRPr sz="2400"/>
            </a:lvl1pPr>
          </a:lstStyle>
          <a:p>
            <a:r>
              <a:rPr lang="it-IT"/>
              <a:t>Fare clic per modificare lo stile del titolo</a:t>
            </a:r>
          </a:p>
        </p:txBody>
      </p:sp>
    </p:spTree>
    <p:extLst>
      <p:ext uri="{BB962C8B-B14F-4D97-AF65-F5344CB8AC3E}">
        <p14:creationId xmlns:p14="http://schemas.microsoft.com/office/powerpoint/2010/main" val="509614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essaggio chiave ENG">
    <p:spTree>
      <p:nvGrpSpPr>
        <p:cNvPr id="1" name=""/>
        <p:cNvGrpSpPr/>
        <p:nvPr/>
      </p:nvGrpSpPr>
      <p:grpSpPr>
        <a:xfrm>
          <a:off x="0" y="0"/>
          <a:ext cx="0" cy="0"/>
          <a:chOff x="0" y="0"/>
          <a:chExt cx="0" cy="0"/>
        </a:xfrm>
      </p:grpSpPr>
      <p:cxnSp>
        <p:nvCxnSpPr>
          <p:cNvPr id="3" name="Connettore diritto 2">
            <a:extLst>
              <a:ext uri="{FF2B5EF4-FFF2-40B4-BE49-F238E27FC236}">
                <a16:creationId xmlns:a16="http://schemas.microsoft.com/office/drawing/2014/main" id="{480F71A9-D972-4409-A7C4-6DA65A4DD8BA}"/>
              </a:ext>
            </a:extLst>
          </p:cNvPr>
          <p:cNvCxnSpPr>
            <a:cxnSpLocks/>
          </p:cNvCxnSpPr>
          <p:nvPr userDrawn="1"/>
        </p:nvCxnSpPr>
        <p:spPr>
          <a:xfrm>
            <a:off x="399888" y="4123948"/>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
        <p:nvSpPr>
          <p:cNvPr id="4" name="Titolo 3">
            <a:extLst>
              <a:ext uri="{FF2B5EF4-FFF2-40B4-BE49-F238E27FC236}">
                <a16:creationId xmlns:a16="http://schemas.microsoft.com/office/drawing/2014/main" id="{A513269F-8769-4D15-BDFB-860623E861C9}"/>
              </a:ext>
            </a:extLst>
          </p:cNvPr>
          <p:cNvSpPr>
            <a:spLocks noGrp="1"/>
          </p:cNvSpPr>
          <p:nvPr>
            <p:ph type="title"/>
          </p:nvPr>
        </p:nvSpPr>
        <p:spPr>
          <a:xfrm>
            <a:off x="403315" y="884594"/>
            <a:ext cx="11380699" cy="3239349"/>
          </a:xfrm>
          <a:prstGeom prst="rect">
            <a:avLst/>
          </a:prstGeom>
        </p:spPr>
        <p:txBody>
          <a:bodyPr vert="horz" lIns="91440" tIns="45720" rIns="91440" bIns="45720" rtlCol="0" anchor="ctr">
            <a:noAutofit/>
          </a:bodyPr>
          <a:lstStyle>
            <a:lvl1pPr algn="ctr" rtl="0" eaLnBrk="0" fontAlgn="base" hangingPunct="0">
              <a:spcBef>
                <a:spcPct val="0"/>
              </a:spcBef>
              <a:spcAft>
                <a:spcPct val="0"/>
              </a:spcAft>
              <a:defRPr sz="3200">
                <a:solidFill>
                  <a:srgbClr val="F47B20"/>
                </a:solidFill>
                <a:latin typeface="+mn-lt"/>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Tree>
    <p:extLst>
      <p:ext uri="{BB962C8B-B14F-4D97-AF65-F5344CB8AC3E}">
        <p14:creationId xmlns:p14="http://schemas.microsoft.com/office/powerpoint/2010/main" val="4076467368"/>
      </p:ext>
    </p:extLst>
  </p:cSld>
  <p:clrMapOvr>
    <a:masterClrMapping/>
  </p:clrMapOvr>
  <p:extLst>
    <p:ext uri="{DCECCB84-F9BA-43D5-87BE-67443E8EF086}">
      <p15:sldGuideLst xmlns:p15="http://schemas.microsoft.com/office/powerpoint/2012/main">
        <p15:guide id="1" orient="horz" pos="1933" userDrawn="1">
          <p15:clr>
            <a:srgbClr val="FBAE40"/>
          </p15:clr>
        </p15:guide>
        <p15:guide id="2" pos="551"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apositiva Bullet Point">
    <p:spTree>
      <p:nvGrpSpPr>
        <p:cNvPr id="1" name=""/>
        <p:cNvGrpSpPr/>
        <p:nvPr/>
      </p:nvGrpSpPr>
      <p:grpSpPr>
        <a:xfrm>
          <a:off x="0" y="0"/>
          <a:ext cx="0" cy="0"/>
          <a:chOff x="0" y="0"/>
          <a:chExt cx="0" cy="0"/>
        </a:xfrm>
      </p:grpSpPr>
      <p:sp>
        <p:nvSpPr>
          <p:cNvPr id="4" name="Titolo 4"/>
          <p:cNvSpPr>
            <a:spLocks noGrp="1"/>
          </p:cNvSpPr>
          <p:nvPr>
            <p:ph type="title"/>
          </p:nvPr>
        </p:nvSpPr>
        <p:spPr>
          <a:xfrm>
            <a:off x="423989" y="692696"/>
            <a:ext cx="11344030" cy="504056"/>
          </a:xfrm>
          <a:prstGeom prst="rect">
            <a:avLst/>
          </a:prstGeom>
        </p:spPr>
        <p:txBody>
          <a:bodyPr/>
          <a:lstStyle>
            <a:lvl1pPr>
              <a:defRPr sz="2400"/>
            </a:lvl1pPr>
          </a:lstStyle>
          <a:p>
            <a:r>
              <a:rPr lang="it-IT"/>
              <a:t>Fare clic per modificare lo stile del titolo</a:t>
            </a:r>
          </a:p>
        </p:txBody>
      </p:sp>
      <p:sp>
        <p:nvSpPr>
          <p:cNvPr id="5" name="Segnaposto testo 14"/>
          <p:cNvSpPr>
            <a:spLocks noGrp="1"/>
          </p:cNvSpPr>
          <p:nvPr>
            <p:ph type="body" sz="quarter" idx="10"/>
          </p:nvPr>
        </p:nvSpPr>
        <p:spPr>
          <a:xfrm>
            <a:off x="423989" y="1477543"/>
            <a:ext cx="11344030" cy="4903787"/>
          </a:xfrm>
          <a:prstGeom prst="rect">
            <a:avLst/>
          </a:prstGeom>
        </p:spPr>
        <p:txBody>
          <a:bodyPr/>
          <a:lstStyle>
            <a:lvl1pPr marL="549052" indent="-549052">
              <a:spcBef>
                <a:spcPts val="738"/>
              </a:spcBef>
              <a:spcAft>
                <a:spcPts val="738"/>
              </a:spcAft>
              <a:buFont typeface="+mj-lt"/>
              <a:buAutoNum type="arabicPeriod"/>
              <a:defRPr sz="2000">
                <a:solidFill>
                  <a:srgbClr val="003A80"/>
                </a:solidFill>
              </a:defRPr>
            </a:lvl1pPr>
            <a:lvl2pPr marL="885126" indent="-319026">
              <a:spcBef>
                <a:spcPts val="738"/>
              </a:spcBef>
              <a:spcAft>
                <a:spcPts val="738"/>
              </a:spcAft>
              <a:buSzPct val="70000"/>
              <a:buFont typeface="Tahoma" pitchFamily="34" charset="0"/>
              <a:buChar char="□"/>
              <a:defRPr sz="2000">
                <a:solidFill>
                  <a:srgbClr val="003A80"/>
                </a:solidFill>
              </a:defRPr>
            </a:lvl2pPr>
            <a:lvl3pPr marL="1215338" indent="-332166">
              <a:spcBef>
                <a:spcPts val="738"/>
              </a:spcBef>
              <a:spcAft>
                <a:spcPts val="738"/>
              </a:spcAft>
              <a:buClr>
                <a:srgbClr val="F47B20"/>
              </a:buClr>
              <a:buSzPct val="70000"/>
              <a:buFont typeface="Tahoma" pitchFamily="34" charset="0"/>
              <a:buChar char="−"/>
              <a:defRPr sz="2000">
                <a:solidFill>
                  <a:srgbClr val="003A80"/>
                </a:solidFill>
              </a:defRPr>
            </a:lvl3pPr>
            <a:lvl4pPr marL="1322804" indent="-437678">
              <a:buClr>
                <a:srgbClr val="F47B20"/>
              </a:buClr>
              <a:defRPr sz="2955"/>
            </a:lvl4pPr>
          </a:lstStyle>
          <a:p>
            <a:pPr lvl="0"/>
            <a:r>
              <a:rPr lang="it-IT"/>
              <a:t>Fare clic per modificare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254212126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apositiva Numeri">
    <p:spTree>
      <p:nvGrpSpPr>
        <p:cNvPr id="1" name=""/>
        <p:cNvGrpSpPr/>
        <p:nvPr/>
      </p:nvGrpSpPr>
      <p:grpSpPr>
        <a:xfrm>
          <a:off x="0" y="0"/>
          <a:ext cx="0" cy="0"/>
          <a:chOff x="0" y="0"/>
          <a:chExt cx="0" cy="0"/>
        </a:xfrm>
      </p:grpSpPr>
      <p:sp>
        <p:nvSpPr>
          <p:cNvPr id="6" name="Titolo 4"/>
          <p:cNvSpPr>
            <a:spLocks noGrp="1"/>
          </p:cNvSpPr>
          <p:nvPr>
            <p:ph type="title"/>
          </p:nvPr>
        </p:nvSpPr>
        <p:spPr>
          <a:xfrm>
            <a:off x="423989" y="433771"/>
            <a:ext cx="11344030" cy="504056"/>
          </a:xfrm>
          <a:prstGeom prst="rect">
            <a:avLst/>
          </a:prstGeom>
        </p:spPr>
        <p:txBody>
          <a:bodyPr/>
          <a:lstStyle>
            <a:lvl1pPr>
              <a:defRPr sz="3200"/>
            </a:lvl1pPr>
          </a:lstStyle>
          <a:p>
            <a:r>
              <a:rPr lang="it-IT"/>
              <a:t>Fare clic per modificare lo stile del titolo</a:t>
            </a:r>
          </a:p>
        </p:txBody>
      </p:sp>
      <p:sp>
        <p:nvSpPr>
          <p:cNvPr id="15" name="Segnaposto testo 14"/>
          <p:cNvSpPr>
            <a:spLocks noGrp="1"/>
          </p:cNvSpPr>
          <p:nvPr>
            <p:ph type="body" sz="quarter" idx="10"/>
          </p:nvPr>
        </p:nvSpPr>
        <p:spPr>
          <a:xfrm>
            <a:off x="423989" y="1268415"/>
            <a:ext cx="11344030" cy="4903787"/>
          </a:xfrm>
          <a:prstGeom prst="rect">
            <a:avLst/>
          </a:prstGeom>
        </p:spPr>
        <p:txBody>
          <a:bodyPr/>
          <a:lstStyle>
            <a:lvl1pPr>
              <a:defRPr lang="it-IT" sz="2000" dirty="0" smtClean="0">
                <a:solidFill>
                  <a:srgbClr val="003A80"/>
                </a:solidFill>
              </a:defRPr>
            </a:lvl1pPr>
            <a:lvl2pPr>
              <a:defRPr lang="it-IT" sz="2000" dirty="0" smtClean="0">
                <a:solidFill>
                  <a:srgbClr val="003A80"/>
                </a:solidFill>
              </a:defRPr>
            </a:lvl2pPr>
            <a:lvl3pPr>
              <a:defRPr lang="it-IT" sz="2000" dirty="0" smtClean="0">
                <a:solidFill>
                  <a:srgbClr val="003A80"/>
                </a:solidFill>
              </a:defRPr>
            </a:lvl3pPr>
          </a:lstStyle>
          <a:p>
            <a:pPr lvl="0"/>
            <a:r>
              <a:rPr lang="it-IT"/>
              <a:t>Fare clic per modificare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42013897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apositiva 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12737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apositiva Sommario">
    <p:spTree>
      <p:nvGrpSpPr>
        <p:cNvPr id="1" name=""/>
        <p:cNvGrpSpPr/>
        <p:nvPr/>
      </p:nvGrpSpPr>
      <p:grpSpPr>
        <a:xfrm>
          <a:off x="0" y="0"/>
          <a:ext cx="0" cy="0"/>
          <a:chOff x="0" y="0"/>
          <a:chExt cx="0" cy="0"/>
        </a:xfrm>
      </p:grpSpPr>
      <p:pic>
        <p:nvPicPr>
          <p:cNvPr id="4" name="Picture 2" descr="C:\Users\vadorni\Desktop\Nuovo Format\Sintesi.png">
            <a:extLst>
              <a:ext uri="{FF2B5EF4-FFF2-40B4-BE49-F238E27FC236}">
                <a16:creationId xmlns:a16="http://schemas.microsoft.com/office/drawing/2014/main" id="{EE26DE63-0830-4EAA-ADA1-8B2FFC1676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037" y="168275"/>
            <a:ext cx="11601451"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olo 2"/>
          <p:cNvSpPr>
            <a:spLocks noGrp="1"/>
          </p:cNvSpPr>
          <p:nvPr>
            <p:ph type="title"/>
          </p:nvPr>
        </p:nvSpPr>
        <p:spPr>
          <a:xfrm>
            <a:off x="441570" y="692152"/>
            <a:ext cx="11326446" cy="720725"/>
          </a:xfrm>
          <a:prstGeom prst="rect">
            <a:avLst/>
          </a:prstGeom>
          <a:noFill/>
          <a:ln>
            <a:noFill/>
          </a:ln>
        </p:spPr>
        <p:txBody>
          <a:bodyPr/>
          <a:lstStyle>
            <a:lvl1pPr>
              <a:defRPr sz="2400" b="0" kern="1200" baseline="0" dirty="0">
                <a:solidFill>
                  <a:srgbClr val="EA651D"/>
                </a:solidFill>
                <a:latin typeface="Tahoma" pitchFamily="34" charset="0"/>
                <a:ea typeface="+mn-ea"/>
                <a:cs typeface="+mn-cs"/>
              </a:defRPr>
            </a:lvl1pPr>
          </a:lstStyle>
          <a:p>
            <a:pPr lvl="0"/>
            <a:r>
              <a:rPr lang="it-IT"/>
              <a:t>Fare clic per modificare stile</a:t>
            </a:r>
            <a:endParaRPr/>
          </a:p>
        </p:txBody>
      </p:sp>
      <p:sp>
        <p:nvSpPr>
          <p:cNvPr id="7" name="Segnaposto testo 10"/>
          <p:cNvSpPr>
            <a:spLocks noGrp="1"/>
          </p:cNvSpPr>
          <p:nvPr>
            <p:ph type="body" sz="quarter" idx="11"/>
          </p:nvPr>
        </p:nvSpPr>
        <p:spPr>
          <a:xfrm>
            <a:off x="449590" y="1556792"/>
            <a:ext cx="11318427" cy="4032448"/>
          </a:xfrm>
          <a:prstGeom prst="rect">
            <a:avLst/>
          </a:prstGeom>
        </p:spPr>
        <p:txBody>
          <a:bodyPr/>
          <a:lstStyle>
            <a:lvl1pPr>
              <a:buFontTx/>
              <a:buBlip>
                <a:blip r:embed="rId3"/>
              </a:buBlip>
              <a:defRPr sz="2000" baseline="0">
                <a:solidFill>
                  <a:srgbClr val="020061"/>
                </a:solidFill>
              </a:defRPr>
            </a:lvl1pPr>
            <a:lvl2pPr>
              <a:buFont typeface="Arial" pitchFamily="34" charset="0"/>
              <a:buNone/>
              <a:defRPr sz="2955"/>
            </a:lvl2pPr>
            <a:lvl3pPr>
              <a:defRPr sz="2955"/>
            </a:lvl3pPr>
            <a:lvl4pPr>
              <a:defRPr sz="2955"/>
            </a:lvl4pPr>
            <a:lvl5pPr>
              <a:defRPr sz="2955"/>
            </a:lvl5pPr>
          </a:lstStyle>
          <a:p>
            <a:pPr lvl="0"/>
            <a:r>
              <a:rPr lang="it-IT"/>
              <a:t>Fare clic per modificare stili del testo dello schema</a:t>
            </a:r>
          </a:p>
          <a:p>
            <a:pPr lvl="0"/>
            <a:endParaRPr lang="it-IT"/>
          </a:p>
        </p:txBody>
      </p:sp>
    </p:spTree>
    <p:extLst>
      <p:ext uri="{BB962C8B-B14F-4D97-AF65-F5344CB8AC3E}">
        <p14:creationId xmlns:p14="http://schemas.microsoft.com/office/powerpoint/2010/main" val="13891007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Diapositiva Sommario">
    <p:spTree>
      <p:nvGrpSpPr>
        <p:cNvPr id="1" name=""/>
        <p:cNvGrpSpPr/>
        <p:nvPr/>
      </p:nvGrpSpPr>
      <p:grpSpPr>
        <a:xfrm>
          <a:off x="0" y="0"/>
          <a:ext cx="0" cy="0"/>
          <a:chOff x="0" y="0"/>
          <a:chExt cx="0" cy="0"/>
        </a:xfrm>
      </p:grpSpPr>
      <p:pic>
        <p:nvPicPr>
          <p:cNvPr id="4" name="Picture 2" descr="C:\Users\vadorni\Desktop\Nuovo Format\Sintesi.png">
            <a:extLst>
              <a:ext uri="{FF2B5EF4-FFF2-40B4-BE49-F238E27FC236}">
                <a16:creationId xmlns:a16="http://schemas.microsoft.com/office/drawing/2014/main" id="{097C489D-B365-4A63-B8F6-B4DF74BAE6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6549" y="168276"/>
            <a:ext cx="11601451" cy="585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olo 2"/>
          <p:cNvSpPr>
            <a:spLocks noGrp="1"/>
          </p:cNvSpPr>
          <p:nvPr>
            <p:ph type="title"/>
          </p:nvPr>
        </p:nvSpPr>
        <p:spPr>
          <a:xfrm>
            <a:off x="441572" y="692154"/>
            <a:ext cx="11326446" cy="720725"/>
          </a:xfrm>
          <a:prstGeom prst="rect">
            <a:avLst/>
          </a:prstGeom>
          <a:noFill/>
          <a:ln>
            <a:noFill/>
          </a:ln>
        </p:spPr>
        <p:txBody>
          <a:bodyPr/>
          <a:lstStyle>
            <a:lvl1pPr>
              <a:defRPr sz="2400" b="0" kern="1200" baseline="0" dirty="0">
                <a:solidFill>
                  <a:srgbClr val="EA651D"/>
                </a:solidFill>
                <a:latin typeface="Tahoma" pitchFamily="34" charset="0"/>
                <a:ea typeface="+mn-ea"/>
                <a:cs typeface="+mn-cs"/>
              </a:defRPr>
            </a:lvl1pPr>
          </a:lstStyle>
          <a:p>
            <a:pPr lvl="0"/>
            <a:r>
              <a:rPr lang="it-IT"/>
              <a:t>Fare clic per modificare stile</a:t>
            </a:r>
            <a:endParaRPr/>
          </a:p>
        </p:txBody>
      </p:sp>
      <p:sp>
        <p:nvSpPr>
          <p:cNvPr id="7" name="Segnaposto testo 10"/>
          <p:cNvSpPr>
            <a:spLocks noGrp="1"/>
          </p:cNvSpPr>
          <p:nvPr>
            <p:ph type="body" sz="quarter" idx="11"/>
          </p:nvPr>
        </p:nvSpPr>
        <p:spPr>
          <a:xfrm>
            <a:off x="449590" y="1556792"/>
            <a:ext cx="11318427" cy="4032448"/>
          </a:xfrm>
          <a:prstGeom prst="rect">
            <a:avLst/>
          </a:prstGeom>
        </p:spPr>
        <p:txBody>
          <a:bodyPr/>
          <a:lstStyle>
            <a:lvl1pPr>
              <a:buFontTx/>
              <a:buBlip>
                <a:blip r:embed="rId3"/>
              </a:buBlip>
              <a:defRPr sz="2000" baseline="0">
                <a:solidFill>
                  <a:srgbClr val="003A80"/>
                </a:solidFill>
              </a:defRPr>
            </a:lvl1pPr>
            <a:lvl2pPr>
              <a:buFont typeface="Arial" pitchFamily="34" charset="0"/>
              <a:buNone/>
              <a:defRPr sz="2955"/>
            </a:lvl2pPr>
            <a:lvl3pPr>
              <a:defRPr sz="2955"/>
            </a:lvl3pPr>
            <a:lvl4pPr>
              <a:defRPr sz="2955"/>
            </a:lvl4pPr>
            <a:lvl5pPr>
              <a:defRPr sz="2955"/>
            </a:lvl5pPr>
          </a:lstStyle>
          <a:p>
            <a:pPr lvl="0"/>
            <a:r>
              <a:rPr lang="it-IT"/>
              <a:t>Fare clic per modificare stili del testo dello schema</a:t>
            </a:r>
          </a:p>
          <a:p>
            <a:pPr lvl="0"/>
            <a:endParaRPr lang="it-IT"/>
          </a:p>
        </p:txBody>
      </p:sp>
    </p:spTree>
    <p:extLst>
      <p:ext uri="{BB962C8B-B14F-4D97-AF65-F5344CB8AC3E}">
        <p14:creationId xmlns:p14="http://schemas.microsoft.com/office/powerpoint/2010/main" val="11517272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olo 2 righ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4B0247E-C23A-4A31-B60B-C6B02AC79597}"/>
              </a:ext>
            </a:extLst>
          </p:cNvPr>
          <p:cNvSpPr>
            <a:spLocks noGrp="1"/>
          </p:cNvSpPr>
          <p:nvPr>
            <p:ph type="title"/>
          </p:nvPr>
        </p:nvSpPr>
        <p:spPr>
          <a:xfrm>
            <a:off x="419896" y="260649"/>
            <a:ext cx="11352212" cy="576263"/>
          </a:xfrm>
          <a:prstGeom prst="rect">
            <a:avLst/>
          </a:prstGeom>
        </p:spPr>
        <p:txBody>
          <a:bodyPr/>
          <a:lstStyle>
            <a:lvl1pPr>
              <a:defRPr sz="2800">
                <a:solidFill>
                  <a:srgbClr val="F47B20"/>
                </a:solidFill>
                <a:latin typeface="Source Sans Pro SemiBold" panose="020B0603030403020204" pitchFamily="34" charset="0"/>
                <a:ea typeface="Source Sans Pro SemiBold" panose="020B0603030403020204" pitchFamily="34" charset="0"/>
              </a:defRPr>
            </a:lvl1pPr>
          </a:lstStyle>
          <a:p>
            <a:r>
              <a:rPr lang="it-IT"/>
              <a:t>Fare clic per modificare lo stile del titolo dello schema</a:t>
            </a:r>
          </a:p>
        </p:txBody>
      </p:sp>
      <p:sp>
        <p:nvSpPr>
          <p:cNvPr id="3" name="Segnaposto testo 3">
            <a:extLst>
              <a:ext uri="{FF2B5EF4-FFF2-40B4-BE49-F238E27FC236}">
                <a16:creationId xmlns:a16="http://schemas.microsoft.com/office/drawing/2014/main" id="{2B8A8D61-C940-42D6-A3CB-0F8A067068A9}"/>
              </a:ext>
            </a:extLst>
          </p:cNvPr>
          <p:cNvSpPr>
            <a:spLocks noGrp="1"/>
          </p:cNvSpPr>
          <p:nvPr>
            <p:ph type="body" sz="quarter" idx="10"/>
          </p:nvPr>
        </p:nvSpPr>
        <p:spPr>
          <a:xfrm>
            <a:off x="420689" y="1182688"/>
            <a:ext cx="11350626" cy="427355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50295081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Messaggio">
    <p:spTree>
      <p:nvGrpSpPr>
        <p:cNvPr id="1" name=""/>
        <p:cNvGrpSpPr/>
        <p:nvPr/>
      </p:nvGrpSpPr>
      <p:grpSpPr>
        <a:xfrm>
          <a:off x="0" y="0"/>
          <a:ext cx="0" cy="0"/>
          <a:chOff x="0" y="0"/>
          <a:chExt cx="0" cy="0"/>
        </a:xfrm>
      </p:grpSpPr>
      <p:cxnSp>
        <p:nvCxnSpPr>
          <p:cNvPr id="3" name="Connettore diritto 2">
            <a:extLst>
              <a:ext uri="{FF2B5EF4-FFF2-40B4-BE49-F238E27FC236}">
                <a16:creationId xmlns:a16="http://schemas.microsoft.com/office/drawing/2014/main" id="{480F71A9-D972-4409-A7C4-6DA65A4DD8BA}"/>
              </a:ext>
            </a:extLst>
          </p:cNvPr>
          <p:cNvCxnSpPr>
            <a:cxnSpLocks/>
          </p:cNvCxnSpPr>
          <p:nvPr userDrawn="1"/>
        </p:nvCxnSpPr>
        <p:spPr>
          <a:xfrm>
            <a:off x="399888" y="4123948"/>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
        <p:nvSpPr>
          <p:cNvPr id="4" name="Titolo 3">
            <a:extLst>
              <a:ext uri="{FF2B5EF4-FFF2-40B4-BE49-F238E27FC236}">
                <a16:creationId xmlns:a16="http://schemas.microsoft.com/office/drawing/2014/main" id="{A513269F-8769-4D15-BDFB-860623E861C9}"/>
              </a:ext>
            </a:extLst>
          </p:cNvPr>
          <p:cNvSpPr>
            <a:spLocks noGrp="1"/>
          </p:cNvSpPr>
          <p:nvPr>
            <p:ph type="title"/>
          </p:nvPr>
        </p:nvSpPr>
        <p:spPr>
          <a:xfrm>
            <a:off x="403315" y="2183987"/>
            <a:ext cx="10932268" cy="553199"/>
          </a:xfrm>
          <a:prstGeom prst="rect">
            <a:avLst/>
          </a:prstGeom>
        </p:spPr>
        <p:txBody>
          <a:bodyPr vert="horz" lIns="91440" tIns="45720" rIns="91440" bIns="45720" rtlCol="0" anchor="ctr">
            <a:noAutofit/>
          </a:bodyPr>
          <a:lstStyle>
            <a:lvl1pPr algn="ctr" rtl="0" eaLnBrk="0" fontAlgn="base" hangingPunct="0">
              <a:spcBef>
                <a:spcPct val="0"/>
              </a:spcBef>
              <a:spcAft>
                <a:spcPct val="0"/>
              </a:spcAft>
              <a:defRPr sz="3200">
                <a:solidFill>
                  <a:srgbClr val="F47B20"/>
                </a:solidFill>
                <a:latin typeface="+mj-lt"/>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Tree>
    <p:extLst>
      <p:ext uri="{BB962C8B-B14F-4D97-AF65-F5344CB8AC3E}">
        <p14:creationId xmlns:p14="http://schemas.microsoft.com/office/powerpoint/2010/main" val="2610654858"/>
      </p:ext>
    </p:extLst>
  </p:cSld>
  <p:clrMapOvr>
    <a:masterClrMapping/>
  </p:clrMapOvr>
  <p:extLst>
    <p:ext uri="{DCECCB84-F9BA-43D5-87BE-67443E8EF086}">
      <p15:sldGuideLst xmlns:p15="http://schemas.microsoft.com/office/powerpoint/2012/main">
        <p15:guide id="1" orient="horz" pos="1933" userDrawn="1">
          <p15:clr>
            <a:srgbClr val="FBAE40"/>
          </p15:clr>
        </p15:guide>
        <p15:guide id="2" pos="551"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sp>
        <p:nvSpPr>
          <p:cNvPr id="9"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11"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spTree>
    <p:extLst>
      <p:ext uri="{BB962C8B-B14F-4D97-AF65-F5344CB8AC3E}">
        <p14:creationId xmlns:p14="http://schemas.microsoft.com/office/powerpoint/2010/main" val="41291673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Diapositiva titolo">
    <p:spTree>
      <p:nvGrpSpPr>
        <p:cNvPr id="1" name=""/>
        <p:cNvGrpSpPr/>
        <p:nvPr/>
      </p:nvGrpSpPr>
      <p:grpSpPr>
        <a:xfrm>
          <a:off x="0" y="0"/>
          <a:ext cx="0" cy="0"/>
          <a:chOff x="0" y="0"/>
          <a:chExt cx="0" cy="0"/>
        </a:xfrm>
      </p:grpSpPr>
      <p:sp>
        <p:nvSpPr>
          <p:cNvPr id="4"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5"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spTree>
    <p:extLst>
      <p:ext uri="{BB962C8B-B14F-4D97-AF65-F5344CB8AC3E}">
        <p14:creationId xmlns:p14="http://schemas.microsoft.com/office/powerpoint/2010/main" val="23046497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8" name="Segnaposto contenuto 7"/>
          <p:cNvSpPr>
            <a:spLocks noGrp="1"/>
          </p:cNvSpPr>
          <p:nvPr>
            <p:ph sz="quarter" idx="10" hasCustomPrompt="1"/>
          </p:nvPr>
        </p:nvSpPr>
        <p:spPr>
          <a:xfrm>
            <a:off x="546102" y="321734"/>
            <a:ext cx="11112500" cy="872066"/>
          </a:xfrm>
          <a:prstGeom prst="rect">
            <a:avLst/>
          </a:prstGeom>
        </p:spPr>
        <p:txBody>
          <a:bodyPr/>
          <a:lstStyle>
            <a:lvl1pPr marL="0" indent="0">
              <a:buNone/>
              <a:defRPr sz="3200">
                <a:solidFill>
                  <a:srgbClr val="F47B20"/>
                </a:solidFill>
                <a:latin typeface="Source Sans Pro SemiBold" panose="020B0603030403020204" pitchFamily="34" charset="0"/>
                <a:ea typeface="Source Sans Pro SemiBold" panose="020B0603030403020204" pitchFamily="34" charset="0"/>
              </a:defRPr>
            </a:lvl1pPr>
          </a:lstStyle>
          <a:p>
            <a:pPr lvl="0"/>
            <a:r>
              <a:rPr lang="it-IT"/>
              <a:t>Fare clic per modificare&lt;</a:t>
            </a:r>
          </a:p>
        </p:txBody>
      </p:sp>
      <p:sp>
        <p:nvSpPr>
          <p:cNvPr id="9" name="Segnaposto contenuto 9"/>
          <p:cNvSpPr>
            <a:spLocks noGrp="1"/>
          </p:cNvSpPr>
          <p:nvPr>
            <p:ph sz="quarter" idx="11" hasCustomPrompt="1"/>
          </p:nvPr>
        </p:nvSpPr>
        <p:spPr>
          <a:xfrm>
            <a:off x="546101" y="1249364"/>
            <a:ext cx="11095566" cy="2276475"/>
          </a:xfrm>
          <a:prstGeom prst="rect">
            <a:avLst/>
          </a:prstGeom>
        </p:spPr>
        <p:txBody>
          <a:bodyPr/>
          <a:lstStyle>
            <a:lvl1pPr marL="0" indent="0">
              <a:buNone/>
              <a:defRPr sz="1401">
                <a:solidFill>
                  <a:srgbClr val="001E60"/>
                </a:solidFill>
                <a:latin typeface="Source Sans Pro" panose="020B0503030403020204" pitchFamily="34" charset="0"/>
                <a:ea typeface="Source Sans Pro" panose="020B0503030403020204" pitchFamily="34" charset="0"/>
              </a:defRPr>
            </a:lvl1pPr>
            <a:lvl2pPr>
              <a:defRPr sz="1401">
                <a:solidFill>
                  <a:srgbClr val="001E60"/>
                </a:solidFill>
                <a:latin typeface="Source Sans Pro" panose="020B0503030403020204" pitchFamily="34" charset="0"/>
                <a:ea typeface="Source Sans Pro" panose="020B0503030403020204" pitchFamily="34" charset="0"/>
              </a:defRPr>
            </a:lvl2pPr>
            <a:lvl3pPr>
              <a:defRPr sz="1401">
                <a:solidFill>
                  <a:srgbClr val="001E60"/>
                </a:solidFill>
                <a:latin typeface="Source Sans Pro" panose="020B0503030403020204" pitchFamily="34" charset="0"/>
                <a:ea typeface="Source Sans Pro" panose="020B0503030403020204" pitchFamily="34" charset="0"/>
              </a:defRPr>
            </a:lvl3pPr>
            <a:lvl4pPr>
              <a:defRPr sz="1401">
                <a:solidFill>
                  <a:srgbClr val="001E60"/>
                </a:solidFill>
                <a:latin typeface="Source Sans Pro" panose="020B0503030403020204" pitchFamily="34" charset="0"/>
                <a:ea typeface="Source Sans Pro" panose="020B0503030403020204" pitchFamily="34" charset="0"/>
              </a:defRPr>
            </a:lvl4pPr>
            <a:lvl5pPr>
              <a:defRPr sz="1401">
                <a:solidFill>
                  <a:srgbClr val="001E60"/>
                </a:solidFill>
                <a:latin typeface="Source Sans Pro" panose="020B0503030403020204" pitchFamily="34" charset="0"/>
                <a:ea typeface="Source Sans Pro" panose="020B05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lt;&lt;</a:t>
            </a:r>
          </a:p>
        </p:txBody>
      </p:sp>
    </p:spTree>
    <p:extLst>
      <p:ext uri="{BB962C8B-B14F-4D97-AF65-F5344CB8AC3E}">
        <p14:creationId xmlns:p14="http://schemas.microsoft.com/office/powerpoint/2010/main" val="2031129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Ultima ITA">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pic>
        <p:nvPicPr>
          <p:cNvPr id="17" name="Immagine 16" descr="Immagine che contiene testo&#10;&#10;Descrizione generata automaticamente">
            <a:extLst>
              <a:ext uri="{FF2B5EF4-FFF2-40B4-BE49-F238E27FC236}">
                <a16:creationId xmlns:a16="http://schemas.microsoft.com/office/drawing/2014/main" id="{5BE25C0C-F577-4EE2-84EA-BCA174D5228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0764" y="6074303"/>
            <a:ext cx="1186437" cy="542234"/>
          </a:xfrm>
          <a:prstGeom prst="rect">
            <a:avLst/>
          </a:prstGeom>
        </p:spPr>
      </p:pic>
      <p:pic>
        <p:nvPicPr>
          <p:cNvPr id="18" name="Immagine 17">
            <a:extLst>
              <a:ext uri="{FF2B5EF4-FFF2-40B4-BE49-F238E27FC236}">
                <a16:creationId xmlns:a16="http://schemas.microsoft.com/office/drawing/2014/main" id="{3F3B73F4-0B4C-40E3-95F7-50E353363253}"/>
              </a:ext>
            </a:extLst>
          </p:cNvPr>
          <p:cNvPicPr>
            <a:picLocks noChangeAspect="1"/>
          </p:cNvPicPr>
          <p:nvPr userDrawn="1"/>
        </p:nvPicPr>
        <p:blipFill>
          <a:blip r:embed="rId4"/>
          <a:stretch>
            <a:fillRect/>
          </a:stretch>
        </p:blipFill>
        <p:spPr>
          <a:xfrm>
            <a:off x="9755686" y="449723"/>
            <a:ext cx="1801372" cy="365761"/>
          </a:xfrm>
          <a:prstGeom prst="rect">
            <a:avLst/>
          </a:prstGeom>
        </p:spPr>
      </p:pic>
      <p:sp>
        <p:nvSpPr>
          <p:cNvPr id="8" name="CasellaDiTesto 7">
            <a:extLst>
              <a:ext uri="{FF2B5EF4-FFF2-40B4-BE49-F238E27FC236}">
                <a16:creationId xmlns:a16="http://schemas.microsoft.com/office/drawing/2014/main" id="{5A3C1401-D991-47A4-B594-8E5AC6BDF054}"/>
              </a:ext>
            </a:extLst>
          </p:cNvPr>
          <p:cNvSpPr txBox="1"/>
          <p:nvPr userDrawn="1"/>
        </p:nvSpPr>
        <p:spPr>
          <a:xfrm>
            <a:off x="1837662" y="3963526"/>
            <a:ext cx="8516679" cy="792589"/>
          </a:xfrm>
          <a:prstGeom prst="rect">
            <a:avLst/>
          </a:prstGeom>
          <a:noFill/>
        </p:spPr>
        <p:txBody>
          <a:bodyPr wrap="square">
            <a:spAutoFit/>
          </a:bodyPr>
          <a:lstStyle/>
          <a:p>
            <a:pPr algn="ctr">
              <a:lnSpc>
                <a:spcPct val="130000"/>
              </a:lnSpc>
            </a:pPr>
            <a:r>
              <a:rPr lang="it-IT" sz="1200" b="1" i="1">
                <a:solidFill>
                  <a:srgbClr val="001E60"/>
                </a:solidFill>
                <a:latin typeface="Source Sans Pro" panose="020B0503030403020204" pitchFamily="34" charset="0"/>
                <a:ea typeface="Source Sans Pro" panose="020B0503030403020204" pitchFamily="34" charset="0"/>
              </a:rPr>
              <a:t>The </a:t>
            </a:r>
            <a:r>
              <a:rPr lang="it-IT" sz="1200" b="1" i="1" err="1">
                <a:solidFill>
                  <a:srgbClr val="001E60"/>
                </a:solidFill>
                <a:latin typeface="Source Sans Pro" panose="020B0503030403020204" pitchFamily="34" charset="0"/>
                <a:ea typeface="Source Sans Pro" panose="020B0503030403020204" pitchFamily="34" charset="0"/>
              </a:rPr>
              <a:t>European</a:t>
            </a:r>
            <a:r>
              <a:rPr lang="it-IT" sz="1200" b="1" i="1">
                <a:solidFill>
                  <a:srgbClr val="001E60"/>
                </a:solidFill>
                <a:latin typeface="Source Sans Pro" panose="020B0503030403020204" pitchFamily="34" charset="0"/>
                <a:ea typeface="Source Sans Pro" panose="020B0503030403020204" pitchFamily="34" charset="0"/>
              </a:rPr>
              <a:t> House - Ambrosetti è stata nominata </a:t>
            </a:r>
            <a:r>
              <a:rPr lang="it-IT" sz="1200" i="1">
                <a:solidFill>
                  <a:srgbClr val="001E60"/>
                </a:solidFill>
                <a:latin typeface="Source Sans Pro" panose="020B0503030403020204" pitchFamily="34" charset="0"/>
                <a:ea typeface="Source Sans Pro" panose="020B0503030403020204" pitchFamily="34" charset="0"/>
              </a:rPr>
              <a:t>anche nel 2021, per l’ottavo anno consecutivo - nella categoria "Best Private Think Tanks" - </a:t>
            </a:r>
            <a:r>
              <a:rPr lang="it-IT" sz="1200" b="1" i="1">
                <a:solidFill>
                  <a:srgbClr val="001E60"/>
                </a:solidFill>
                <a:latin typeface="Source Sans Pro" panose="020B0503030403020204" pitchFamily="34" charset="0"/>
                <a:ea typeface="Source Sans Pro" panose="020B0503030403020204" pitchFamily="34" charset="0"/>
              </a:rPr>
              <a:t>1° Think Tank in Italia, 4° nell’Unione Europea e tra i più rispettati indipendenti al mondo su 11.175 a livello globale nell’ultima edizione del “Global Go To Think Tanks Report”</a:t>
            </a:r>
            <a:r>
              <a:rPr lang="it-IT" sz="1200" i="1">
                <a:solidFill>
                  <a:srgbClr val="001E60"/>
                </a:solidFill>
                <a:latin typeface="Source Sans Pro" panose="020B0503030403020204" pitchFamily="34" charset="0"/>
                <a:ea typeface="Source Sans Pro" panose="020B0503030403020204" pitchFamily="34" charset="0"/>
              </a:rPr>
              <a:t> dell’Università della Pennsylvania.</a:t>
            </a:r>
          </a:p>
        </p:txBody>
      </p:sp>
    </p:spTree>
    <p:extLst>
      <p:ext uri="{BB962C8B-B14F-4D97-AF65-F5344CB8AC3E}">
        <p14:creationId xmlns:p14="http://schemas.microsoft.com/office/powerpoint/2010/main" val="30333136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testazione sezio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4397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pic>
        <p:nvPicPr>
          <p:cNvPr id="15" name="Immagin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17"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1" i="0" baseline="0" smtClean="0">
                <a:solidFill>
                  <a:srgbClr val="F47B20"/>
                </a:solidFill>
                <a:latin typeface="Red Hat Display"/>
              </a:rPr>
              <a:pPr algn="ctr" eaLnBrk="1" hangingPunct="1"/>
              <a:t>‹N›</a:t>
            </a:fld>
            <a:endParaRPr lang="it-IT" sz="1001" b="1" i="0" baseline="0">
              <a:solidFill>
                <a:srgbClr val="F47B20"/>
              </a:solidFill>
              <a:latin typeface="Red Hat Display"/>
            </a:endParaRPr>
          </a:p>
        </p:txBody>
      </p:sp>
    </p:spTree>
    <p:extLst>
      <p:ext uri="{BB962C8B-B14F-4D97-AF65-F5344CB8AC3E}">
        <p14:creationId xmlns:p14="http://schemas.microsoft.com/office/powerpoint/2010/main" val="24337884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fronto">
    <p:spTree>
      <p:nvGrpSpPr>
        <p:cNvPr id="1" name=""/>
        <p:cNvGrpSpPr/>
        <p:nvPr/>
      </p:nvGrpSpPr>
      <p:grpSpPr>
        <a:xfrm>
          <a:off x="0" y="0"/>
          <a:ext cx="0" cy="0"/>
          <a:chOff x="0" y="0"/>
          <a:chExt cx="0" cy="0"/>
        </a:xfrm>
      </p:grpSpPr>
      <p:pic>
        <p:nvPicPr>
          <p:cNvPr id="10" name="Immagin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12"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1" i="0" baseline="0" smtClean="0">
                <a:solidFill>
                  <a:srgbClr val="F47B20"/>
                </a:solidFill>
                <a:latin typeface="Red Hat Display"/>
              </a:rPr>
              <a:pPr algn="ctr" eaLnBrk="1" hangingPunct="1"/>
              <a:t>‹N›</a:t>
            </a:fld>
            <a:endParaRPr lang="it-IT" sz="1001" b="1" i="0" baseline="0">
              <a:solidFill>
                <a:srgbClr val="F47B20"/>
              </a:solidFill>
              <a:latin typeface="Red Hat Display"/>
            </a:endParaRPr>
          </a:p>
        </p:txBody>
      </p:sp>
    </p:spTree>
    <p:extLst>
      <p:ext uri="{BB962C8B-B14F-4D97-AF65-F5344CB8AC3E}">
        <p14:creationId xmlns:p14="http://schemas.microsoft.com/office/powerpoint/2010/main" val="311230724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pic>
        <p:nvPicPr>
          <p:cNvPr id="6" name="Immagin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8"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1" i="0" baseline="0" smtClean="0">
                <a:solidFill>
                  <a:srgbClr val="F47B20"/>
                </a:solidFill>
                <a:latin typeface="Red Hat Display"/>
              </a:rPr>
              <a:pPr algn="ctr" eaLnBrk="1" hangingPunct="1"/>
              <a:t>‹N›</a:t>
            </a:fld>
            <a:endParaRPr lang="it-IT" sz="1001" b="1" i="0" baseline="0">
              <a:solidFill>
                <a:srgbClr val="F47B20"/>
              </a:solidFill>
              <a:latin typeface="Red Hat Display"/>
            </a:endParaRPr>
          </a:p>
        </p:txBody>
      </p:sp>
    </p:spTree>
    <p:extLst>
      <p:ext uri="{BB962C8B-B14F-4D97-AF65-F5344CB8AC3E}">
        <p14:creationId xmlns:p14="http://schemas.microsoft.com/office/powerpoint/2010/main" val="8702955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Titolo 2 righe">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1458886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testo 5">
            <a:extLst>
              <a:ext uri="{FF2B5EF4-FFF2-40B4-BE49-F238E27FC236}">
                <a16:creationId xmlns:a16="http://schemas.microsoft.com/office/drawing/2014/main" id="{F43C7B1A-5D74-4852-8F13-DA3E8B3373DB}"/>
              </a:ext>
            </a:extLst>
          </p:cNvPr>
          <p:cNvSpPr>
            <a:spLocks noGrp="1"/>
          </p:cNvSpPr>
          <p:nvPr>
            <p:ph type="body" sz="quarter" idx="10"/>
          </p:nvPr>
        </p:nvSpPr>
        <p:spPr>
          <a:xfrm>
            <a:off x="2206693" y="6311555"/>
            <a:ext cx="8488363" cy="277812"/>
          </a:xfrm>
          <a:prstGeom prst="rect">
            <a:avLst/>
          </a:prstGeom>
        </p:spPr>
        <p:txBody>
          <a:bodyPr/>
          <a:lstStyle>
            <a:lvl1pPr marL="0" indent="0">
              <a:buNone/>
              <a:defRPr sz="1200">
                <a:solidFill>
                  <a:schemeClr val="bg1">
                    <a:lumMod val="50000"/>
                  </a:schemeClr>
                </a:solidFill>
              </a:defRPr>
            </a:lvl1pPr>
          </a:lstStyle>
          <a:p>
            <a:pPr lvl="0"/>
            <a:endParaRPr lang="en-US"/>
          </a:p>
        </p:txBody>
      </p:sp>
    </p:spTree>
    <p:extLst>
      <p:ext uri="{BB962C8B-B14F-4D97-AF65-F5344CB8AC3E}">
        <p14:creationId xmlns:p14="http://schemas.microsoft.com/office/powerpoint/2010/main" val="19061958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pertina ITA">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0" name="CasellaDiTesto 9">
            <a:extLst>
              <a:ext uri="{FF2B5EF4-FFF2-40B4-BE49-F238E27FC236}">
                <a16:creationId xmlns:a16="http://schemas.microsoft.com/office/drawing/2014/main" id="{E48C28C1-455E-4BEB-AA3B-64852673EE1D}"/>
              </a:ext>
            </a:extLst>
          </p:cNvPr>
          <p:cNvSpPr txBox="1"/>
          <p:nvPr userDrawn="1"/>
        </p:nvSpPr>
        <p:spPr>
          <a:xfrm>
            <a:off x="7108372" y="6436915"/>
            <a:ext cx="3922681" cy="230832"/>
          </a:xfrm>
          <a:prstGeom prst="rect">
            <a:avLst/>
          </a:prstGeom>
          <a:noFill/>
        </p:spPr>
        <p:txBody>
          <a:bodyPr wrap="square" rtlCol="0">
            <a:spAutoFit/>
          </a:bodyPr>
          <a:lstStyle/>
          <a:p>
            <a:pPr algn="r"/>
            <a:r>
              <a:rPr lang="it-IT" sz="900">
                <a:solidFill>
                  <a:srgbClr val="001E60"/>
                </a:solidFill>
                <a:latin typeface="Source Sans Pro SemiBold" panose="020B0603030403020204" pitchFamily="34" charset="0"/>
                <a:ea typeface="Source Sans Pro SemiBold" panose="020B0603030403020204" pitchFamily="34" charset="0"/>
              </a:rPr>
              <a:t>Non c’è vento a favore per chi non conosce il porto</a:t>
            </a:r>
          </a:p>
        </p:txBody>
      </p:sp>
      <p:sp>
        <p:nvSpPr>
          <p:cNvPr id="11" name="CasellaDiTesto 10">
            <a:extLst>
              <a:ext uri="{FF2B5EF4-FFF2-40B4-BE49-F238E27FC236}">
                <a16:creationId xmlns:a16="http://schemas.microsoft.com/office/drawing/2014/main" id="{2D942B9A-A55E-4682-A543-6D063B114899}"/>
              </a:ext>
            </a:extLst>
          </p:cNvPr>
          <p:cNvSpPr txBox="1"/>
          <p:nvPr userDrawn="1"/>
        </p:nvSpPr>
        <p:spPr>
          <a:xfrm>
            <a:off x="5399122" y="500479"/>
            <a:ext cx="6337198" cy="276999"/>
          </a:xfrm>
          <a:prstGeom prst="rect">
            <a:avLst/>
          </a:prstGeom>
          <a:noFill/>
        </p:spPr>
        <p:txBody>
          <a:bodyPr wrap="square"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1E60"/>
                </a:solidFill>
                <a:effectLst/>
                <a:uLnTx/>
                <a:uFillTx/>
                <a:latin typeface="Source Sans Pro"/>
                <a:ea typeface="Source Sans Pro SemiBold" panose="020B0603030403020204" pitchFamily="34" charset="0"/>
                <a:cs typeface="+mn-cs"/>
              </a:rPr>
              <a:t>THINK TANK  |  MANAGEMENT CONSULTING  |  LEADERS’ EDUCATION  |  SUMMIT</a:t>
            </a:r>
          </a:p>
        </p:txBody>
      </p:sp>
      <p:sp>
        <p:nvSpPr>
          <p:cNvPr id="12" name="CasellaDiTesto 11">
            <a:extLst>
              <a:ext uri="{FF2B5EF4-FFF2-40B4-BE49-F238E27FC236}">
                <a16:creationId xmlns:a16="http://schemas.microsoft.com/office/drawing/2014/main" id="{23C36DDE-09C7-41CB-9CBE-B45153495ED5}"/>
              </a:ext>
            </a:extLst>
          </p:cNvPr>
          <p:cNvSpPr txBox="1"/>
          <p:nvPr userDrawn="1"/>
        </p:nvSpPr>
        <p:spPr>
          <a:xfrm>
            <a:off x="240886" y="6474566"/>
            <a:ext cx="1479644" cy="200055"/>
          </a:xfrm>
          <a:prstGeom prst="rect">
            <a:avLst/>
          </a:prstGeom>
          <a:solidFill>
            <a:schemeClr val="bg1"/>
          </a:solid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001E60"/>
                </a:solidFill>
                <a:effectLst/>
                <a:uLnTx/>
                <a:uFillTx/>
                <a:latin typeface="Source Sans Pro SemiBold" panose="020B0603030403020204" pitchFamily="34" charset="0"/>
                <a:ea typeface="Source Sans Pro SemiBold" panose="020B0603030403020204" pitchFamily="34" charset="0"/>
                <a:cs typeface="+mn-cs"/>
              </a:rPr>
              <a:t>© 2023 Tutti i diritti riservati</a:t>
            </a: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sp>
        <p:nvSpPr>
          <p:cNvPr id="6" name="Segnaposto testo 5">
            <a:extLst>
              <a:ext uri="{FF2B5EF4-FFF2-40B4-BE49-F238E27FC236}">
                <a16:creationId xmlns:a16="http://schemas.microsoft.com/office/drawing/2014/main" id="{EF52FC51-0662-4EDC-B14C-1634434B37E8}"/>
              </a:ext>
            </a:extLst>
          </p:cNvPr>
          <p:cNvSpPr>
            <a:spLocks noGrp="1"/>
          </p:cNvSpPr>
          <p:nvPr>
            <p:ph type="body" sz="quarter" idx="10"/>
          </p:nvPr>
        </p:nvSpPr>
        <p:spPr>
          <a:xfrm>
            <a:off x="566738" y="1968501"/>
            <a:ext cx="7295115" cy="1082813"/>
          </a:xfrm>
          <a:prstGeom prst="rect">
            <a:avLst/>
          </a:prstGeom>
        </p:spPr>
        <p:txBody>
          <a:bodyPr/>
          <a:lstStyle>
            <a:lvl1pPr marL="0" indent="0">
              <a:spcAft>
                <a:spcPts val="1001"/>
              </a:spcAft>
              <a:buNone/>
              <a:defRPr sz="3600">
                <a:solidFill>
                  <a:srgbClr val="F47B20"/>
                </a:solidFill>
                <a:latin typeface="Source Sans Pro SemiBold" panose="020B0603030403020204" pitchFamily="34" charset="0"/>
                <a:ea typeface="Source Sans Pro SemiBold" panose="020B0603030403020204" pitchFamily="34" charset="0"/>
              </a:defRPr>
            </a:lvl1pPr>
            <a:lvl2pPr>
              <a:defRPr>
                <a:solidFill>
                  <a:srgbClr val="F47B20"/>
                </a:solidFill>
              </a:defRPr>
            </a:lvl2pPr>
            <a:lvl3pPr>
              <a:defRPr>
                <a:solidFill>
                  <a:srgbClr val="F47B20"/>
                </a:solidFill>
              </a:defRPr>
            </a:lvl3pPr>
            <a:lvl4pPr>
              <a:defRPr>
                <a:solidFill>
                  <a:srgbClr val="F47B20"/>
                </a:solidFill>
              </a:defRPr>
            </a:lvl4pPr>
            <a:lvl5pPr>
              <a:defRPr>
                <a:solidFill>
                  <a:srgbClr val="F47B20"/>
                </a:solidFill>
              </a:defRPr>
            </a:lvl5pPr>
          </a:lstStyle>
          <a:p>
            <a:pPr lvl="0"/>
            <a:r>
              <a:rPr lang="it-IT"/>
              <a:t>Fare clic per modificare gli stili del testo dello schema</a:t>
            </a:r>
          </a:p>
        </p:txBody>
      </p:sp>
      <p:sp>
        <p:nvSpPr>
          <p:cNvPr id="8" name="Segnaposto testo 7">
            <a:extLst>
              <a:ext uri="{FF2B5EF4-FFF2-40B4-BE49-F238E27FC236}">
                <a16:creationId xmlns:a16="http://schemas.microsoft.com/office/drawing/2014/main" id="{D6EB0F33-CCF1-46FD-B414-D857213FC7A2}"/>
              </a:ext>
            </a:extLst>
          </p:cNvPr>
          <p:cNvSpPr>
            <a:spLocks noGrp="1"/>
          </p:cNvSpPr>
          <p:nvPr>
            <p:ph type="body" sz="quarter" idx="11"/>
          </p:nvPr>
        </p:nvSpPr>
        <p:spPr>
          <a:xfrm>
            <a:off x="566738" y="3279776"/>
            <a:ext cx="7295115" cy="715963"/>
          </a:xfrm>
          <a:prstGeom prst="rect">
            <a:avLst/>
          </a:prstGeom>
        </p:spPr>
        <p:txBody>
          <a:bodyPr/>
          <a:lstStyle>
            <a:lvl1pPr marL="0" indent="0">
              <a:spcBef>
                <a:spcPts val="1200"/>
              </a:spcBef>
              <a:spcAft>
                <a:spcPts val="1200"/>
              </a:spcAft>
              <a:buNone/>
              <a:defRPr sz="1801">
                <a:solidFill>
                  <a:srgbClr val="001E60"/>
                </a:solidFill>
                <a:latin typeface="+mj-lt"/>
              </a:defRPr>
            </a:lvl1pPr>
            <a:lvl2pPr marL="457206" indent="0">
              <a:spcBef>
                <a:spcPts val="601"/>
              </a:spcBef>
              <a:spcAft>
                <a:spcPts val="601"/>
              </a:spcAft>
              <a:buNone/>
              <a:defRPr sz="1801">
                <a:solidFill>
                  <a:srgbClr val="001E60"/>
                </a:solidFill>
                <a:latin typeface="+mj-lt"/>
              </a:defRPr>
            </a:lvl2pPr>
            <a:lvl3pPr marL="914411" indent="0">
              <a:spcBef>
                <a:spcPts val="601"/>
              </a:spcBef>
              <a:spcAft>
                <a:spcPts val="601"/>
              </a:spcAft>
              <a:buNone/>
              <a:defRPr sz="1801">
                <a:solidFill>
                  <a:srgbClr val="001E60"/>
                </a:solidFill>
                <a:latin typeface="+mj-lt"/>
              </a:defRPr>
            </a:lvl3pPr>
            <a:lvl4pPr marL="1371617" indent="0">
              <a:spcBef>
                <a:spcPts val="601"/>
              </a:spcBef>
              <a:spcAft>
                <a:spcPts val="601"/>
              </a:spcAft>
              <a:buNone/>
              <a:defRPr sz="1801">
                <a:solidFill>
                  <a:srgbClr val="001E60"/>
                </a:solidFill>
                <a:latin typeface="+mj-lt"/>
              </a:defRPr>
            </a:lvl4pPr>
            <a:lvl5pPr marL="1828823" indent="0">
              <a:spcBef>
                <a:spcPts val="601"/>
              </a:spcBef>
              <a:spcAft>
                <a:spcPts val="601"/>
              </a:spcAft>
              <a:buNone/>
              <a:defRPr sz="1801">
                <a:solidFill>
                  <a:srgbClr val="001E60"/>
                </a:solidFill>
                <a:latin typeface="+mj-lt"/>
              </a:defRPr>
            </a:lvl5pPr>
          </a:lstStyle>
          <a:p>
            <a:pPr lvl="0"/>
            <a:r>
              <a:rPr lang="it-IT"/>
              <a:t>Fare clic per modificare gli stili del testo dello schema</a:t>
            </a:r>
          </a:p>
        </p:txBody>
      </p:sp>
      <p:pic>
        <p:nvPicPr>
          <p:cNvPr id="3" name="Picture 2" descr="A logo for a hotel&#10;&#10;Description automatically generated">
            <a:extLst>
              <a:ext uri="{FF2B5EF4-FFF2-40B4-BE49-F238E27FC236}">
                <a16:creationId xmlns:a16="http://schemas.microsoft.com/office/drawing/2014/main" id="{533B0AC8-C4E0-6EC8-9995-132E0F6F610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4930" t="42397" r="9728" b="32135"/>
          <a:stretch/>
        </p:blipFill>
        <p:spPr>
          <a:xfrm>
            <a:off x="487424" y="389698"/>
            <a:ext cx="2466212" cy="496161"/>
          </a:xfrm>
          <a:prstGeom prst="rect">
            <a:avLst/>
          </a:prstGeom>
        </p:spPr>
      </p:pic>
    </p:spTree>
    <p:extLst>
      <p:ext uri="{BB962C8B-B14F-4D97-AF65-F5344CB8AC3E}">
        <p14:creationId xmlns:p14="http://schemas.microsoft.com/office/powerpoint/2010/main" val="311755788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ullet ITA">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6261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contenuto 5">
            <a:extLst>
              <a:ext uri="{FF2B5EF4-FFF2-40B4-BE49-F238E27FC236}">
                <a16:creationId xmlns:a16="http://schemas.microsoft.com/office/drawing/2014/main" id="{2997CE74-FC52-42EC-BC36-AA81E2E2126A}"/>
              </a:ext>
            </a:extLst>
          </p:cNvPr>
          <p:cNvSpPr>
            <a:spLocks noGrp="1"/>
          </p:cNvSpPr>
          <p:nvPr>
            <p:ph sz="quarter" idx="11"/>
          </p:nvPr>
        </p:nvSpPr>
        <p:spPr>
          <a:xfrm>
            <a:off x="403227" y="1083366"/>
            <a:ext cx="11384494" cy="4780723"/>
          </a:xfrm>
          <a:prstGeom prst="rect">
            <a:avLst/>
          </a:prstGeom>
        </p:spPr>
        <p:txBody>
          <a:bodyPr/>
          <a:lstStyle>
            <a:lvl1pPr marL="360005" indent="-360005">
              <a:lnSpc>
                <a:spcPct val="100000"/>
              </a:lnSpc>
              <a:spcBef>
                <a:spcPts val="601"/>
              </a:spcBef>
              <a:buClr>
                <a:srgbClr val="F47B20"/>
              </a:buClr>
              <a:buFont typeface="Arial" panose="020B0604020202020204" pitchFamily="34" charset="0"/>
              <a:buChar char="•"/>
              <a:defRPr sz="1801">
                <a:solidFill>
                  <a:srgbClr val="001E60"/>
                </a:solidFill>
              </a:defRPr>
            </a:lvl1pPr>
            <a:lvl2pPr marL="720009" indent="-358780">
              <a:lnSpc>
                <a:spcPct val="100000"/>
              </a:lnSpc>
              <a:spcBef>
                <a:spcPts val="601"/>
              </a:spcBef>
              <a:buClr>
                <a:srgbClr val="F47B20"/>
              </a:buClr>
              <a:buSzPct val="75000"/>
              <a:buFont typeface="Courier New" panose="02070309020205020404" pitchFamily="49" charset="0"/>
              <a:buChar char="o"/>
              <a:defRPr sz="1801">
                <a:solidFill>
                  <a:srgbClr val="001E60"/>
                </a:solidFill>
              </a:defRPr>
            </a:lvl2pPr>
            <a:lvl3pPr marL="715972" indent="0">
              <a:buClr>
                <a:srgbClr val="F47B20"/>
              </a:buClr>
              <a:buNone/>
              <a:defRPr sz="1801">
                <a:solidFill>
                  <a:srgbClr val="001E60"/>
                </a:solidFill>
              </a:defRPr>
            </a:lvl3pPr>
            <a:lvl4pPr marL="1431943" indent="-358780">
              <a:buClr>
                <a:srgbClr val="F47B20"/>
              </a:buClr>
              <a:buSzPct val="70000"/>
              <a:buFont typeface="Courier New" panose="02070309020205020404" pitchFamily="49" charset="0"/>
              <a:buChar char="o"/>
              <a:defRPr sz="1801">
                <a:solidFill>
                  <a:srgbClr val="001E60"/>
                </a:solidFill>
              </a:defRPr>
            </a:lvl4pPr>
            <a:lvl5pPr marL="1789135" indent="-357192">
              <a:buClr>
                <a:srgbClr val="F47B20"/>
              </a:buClr>
              <a:defRPr sz="1801">
                <a:solidFill>
                  <a:srgbClr val="001E60"/>
                </a:solidFill>
              </a:defRPr>
            </a:lvl5pPr>
          </a:lstStyle>
          <a:p>
            <a:pPr lvl="0"/>
            <a:r>
              <a:rPr lang="it-IT"/>
              <a:t>Fare clic per modificare gli stili del testo dello schema</a:t>
            </a:r>
          </a:p>
          <a:p>
            <a:pPr lvl="1"/>
            <a:r>
              <a:rPr lang="it-IT"/>
              <a:t>Secondo livello</a:t>
            </a:r>
          </a:p>
        </p:txBody>
      </p:sp>
      <p:sp>
        <p:nvSpPr>
          <p:cNvPr id="3" name="Segnaposto testo 5">
            <a:extLst>
              <a:ext uri="{FF2B5EF4-FFF2-40B4-BE49-F238E27FC236}">
                <a16:creationId xmlns:a16="http://schemas.microsoft.com/office/drawing/2014/main" id="{115F9EB4-1361-FEBD-080C-421BFD79A741}"/>
              </a:ext>
            </a:extLst>
          </p:cNvPr>
          <p:cNvSpPr>
            <a:spLocks noGrp="1"/>
          </p:cNvSpPr>
          <p:nvPr>
            <p:ph type="body" sz="quarter" idx="10"/>
          </p:nvPr>
        </p:nvSpPr>
        <p:spPr>
          <a:xfrm>
            <a:off x="1597093" y="6450289"/>
            <a:ext cx="8488363" cy="277812"/>
          </a:xfrm>
          <a:prstGeom prst="rect">
            <a:avLst/>
          </a:prstGeom>
        </p:spPr>
        <p:txBody>
          <a:bodyPr/>
          <a:lstStyle>
            <a:lvl1pPr marL="0" indent="0">
              <a:buNone/>
              <a:defRPr sz="1200">
                <a:solidFill>
                  <a:schemeClr val="bg1">
                    <a:lumMod val="50000"/>
                  </a:schemeClr>
                </a:solidFill>
              </a:defRPr>
            </a:lvl1pPr>
          </a:lstStyle>
          <a:p>
            <a:pPr lvl="0"/>
            <a:endParaRPr lang="en-US"/>
          </a:p>
        </p:txBody>
      </p:sp>
    </p:spTree>
    <p:extLst>
      <p:ext uri="{BB962C8B-B14F-4D97-AF65-F5344CB8AC3E}">
        <p14:creationId xmlns:p14="http://schemas.microsoft.com/office/powerpoint/2010/main" val="404830972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Bullet ITA">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2A8AA205-C10B-BA53-41DA-61B8071E9A46}"/>
              </a:ext>
            </a:extLst>
          </p:cNvPr>
          <p:cNvSpPr/>
          <p:nvPr userDrawn="1"/>
        </p:nvSpPr>
        <p:spPr>
          <a:xfrm>
            <a:off x="0" y="1019865"/>
            <a:ext cx="12192000" cy="505073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801"/>
          </a:p>
        </p:txBody>
      </p:sp>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6261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4" y="206100"/>
            <a:ext cx="11384494"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contenuto 5">
            <a:extLst>
              <a:ext uri="{FF2B5EF4-FFF2-40B4-BE49-F238E27FC236}">
                <a16:creationId xmlns:a16="http://schemas.microsoft.com/office/drawing/2014/main" id="{2997CE74-FC52-42EC-BC36-AA81E2E2126A}"/>
              </a:ext>
            </a:extLst>
          </p:cNvPr>
          <p:cNvSpPr>
            <a:spLocks noGrp="1"/>
          </p:cNvSpPr>
          <p:nvPr>
            <p:ph sz="quarter" idx="11"/>
          </p:nvPr>
        </p:nvSpPr>
        <p:spPr>
          <a:xfrm>
            <a:off x="403227" y="1083366"/>
            <a:ext cx="11384494" cy="4780723"/>
          </a:xfrm>
          <a:prstGeom prst="rect">
            <a:avLst/>
          </a:prstGeom>
        </p:spPr>
        <p:txBody>
          <a:bodyPr/>
          <a:lstStyle>
            <a:lvl1pPr marL="360005" indent="-360005">
              <a:lnSpc>
                <a:spcPct val="100000"/>
              </a:lnSpc>
              <a:spcBef>
                <a:spcPts val="601"/>
              </a:spcBef>
              <a:buClr>
                <a:srgbClr val="F47B20"/>
              </a:buClr>
              <a:buFont typeface="Arial" panose="020B0604020202020204" pitchFamily="34" charset="0"/>
              <a:buChar char="•"/>
              <a:defRPr sz="1801">
                <a:solidFill>
                  <a:srgbClr val="001E60"/>
                </a:solidFill>
              </a:defRPr>
            </a:lvl1pPr>
            <a:lvl2pPr marL="720009" indent="-358780">
              <a:lnSpc>
                <a:spcPct val="100000"/>
              </a:lnSpc>
              <a:spcBef>
                <a:spcPts val="601"/>
              </a:spcBef>
              <a:buClr>
                <a:srgbClr val="F47B20"/>
              </a:buClr>
              <a:buSzPct val="75000"/>
              <a:buFont typeface="Courier New" panose="02070309020205020404" pitchFamily="49" charset="0"/>
              <a:buChar char="o"/>
              <a:defRPr sz="1801">
                <a:solidFill>
                  <a:srgbClr val="001E60"/>
                </a:solidFill>
              </a:defRPr>
            </a:lvl2pPr>
            <a:lvl3pPr marL="715972" indent="0">
              <a:buClr>
                <a:srgbClr val="F47B20"/>
              </a:buClr>
              <a:buNone/>
              <a:defRPr sz="1801">
                <a:solidFill>
                  <a:srgbClr val="001E60"/>
                </a:solidFill>
              </a:defRPr>
            </a:lvl3pPr>
            <a:lvl4pPr marL="1431943" indent="-358780">
              <a:buClr>
                <a:srgbClr val="F47B20"/>
              </a:buClr>
              <a:buSzPct val="70000"/>
              <a:buFont typeface="Courier New" panose="02070309020205020404" pitchFamily="49" charset="0"/>
              <a:buChar char="o"/>
              <a:defRPr sz="1801">
                <a:solidFill>
                  <a:srgbClr val="001E60"/>
                </a:solidFill>
              </a:defRPr>
            </a:lvl4pPr>
            <a:lvl5pPr marL="1789135" indent="-357192">
              <a:buClr>
                <a:srgbClr val="F47B20"/>
              </a:buClr>
              <a:defRPr sz="1801">
                <a:solidFill>
                  <a:srgbClr val="001E60"/>
                </a:solidFill>
              </a:defRPr>
            </a:lvl5pPr>
          </a:lstStyle>
          <a:p>
            <a:pPr lvl="0"/>
            <a:r>
              <a:rPr lang="it-IT"/>
              <a:t>Fare clic per modificare gli stili del testo dello schema</a:t>
            </a:r>
          </a:p>
          <a:p>
            <a:pPr lvl="1"/>
            <a:r>
              <a:rPr lang="it-IT"/>
              <a:t>Secondo livello</a:t>
            </a:r>
          </a:p>
        </p:txBody>
      </p:sp>
      <p:sp>
        <p:nvSpPr>
          <p:cNvPr id="3" name="Segnaposto testo 5">
            <a:extLst>
              <a:ext uri="{FF2B5EF4-FFF2-40B4-BE49-F238E27FC236}">
                <a16:creationId xmlns:a16="http://schemas.microsoft.com/office/drawing/2014/main" id="{115F9EB4-1361-FEBD-080C-421BFD79A741}"/>
              </a:ext>
            </a:extLst>
          </p:cNvPr>
          <p:cNvSpPr>
            <a:spLocks noGrp="1"/>
          </p:cNvSpPr>
          <p:nvPr>
            <p:ph type="body" sz="quarter" idx="10"/>
          </p:nvPr>
        </p:nvSpPr>
        <p:spPr>
          <a:xfrm>
            <a:off x="1597093" y="6450289"/>
            <a:ext cx="8488363" cy="277812"/>
          </a:xfrm>
          <a:prstGeom prst="rect">
            <a:avLst/>
          </a:prstGeom>
        </p:spPr>
        <p:txBody>
          <a:bodyPr/>
          <a:lstStyle>
            <a:lvl1pPr marL="0" indent="0">
              <a:buNone/>
              <a:defRPr sz="1200">
                <a:solidFill>
                  <a:schemeClr val="bg1">
                    <a:lumMod val="50000"/>
                  </a:schemeClr>
                </a:solidFill>
              </a:defRPr>
            </a:lvl1pPr>
          </a:lstStyle>
          <a:p>
            <a:pPr lvl="0"/>
            <a:endParaRPr lang="en-US"/>
          </a:p>
        </p:txBody>
      </p:sp>
    </p:spTree>
    <p:extLst>
      <p:ext uri="{BB962C8B-B14F-4D97-AF65-F5344CB8AC3E}">
        <p14:creationId xmlns:p14="http://schemas.microsoft.com/office/powerpoint/2010/main" val="58469391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Messaggio chiave ITA">
    <p:spTree>
      <p:nvGrpSpPr>
        <p:cNvPr id="1" name=""/>
        <p:cNvGrpSpPr/>
        <p:nvPr/>
      </p:nvGrpSpPr>
      <p:grpSpPr>
        <a:xfrm>
          <a:off x="0" y="0"/>
          <a:ext cx="0" cy="0"/>
          <a:chOff x="0" y="0"/>
          <a:chExt cx="0" cy="0"/>
        </a:xfrm>
      </p:grpSpPr>
      <p:cxnSp>
        <p:nvCxnSpPr>
          <p:cNvPr id="3" name="Connettore diritto 2">
            <a:extLst>
              <a:ext uri="{FF2B5EF4-FFF2-40B4-BE49-F238E27FC236}">
                <a16:creationId xmlns:a16="http://schemas.microsoft.com/office/drawing/2014/main" id="{480F71A9-D972-4409-A7C4-6DA65A4DD8BA}"/>
              </a:ext>
            </a:extLst>
          </p:cNvPr>
          <p:cNvCxnSpPr>
            <a:cxnSpLocks/>
          </p:cNvCxnSpPr>
          <p:nvPr userDrawn="1"/>
        </p:nvCxnSpPr>
        <p:spPr>
          <a:xfrm>
            <a:off x="399888" y="4123948"/>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
        <p:nvSpPr>
          <p:cNvPr id="4" name="Titolo 3">
            <a:extLst>
              <a:ext uri="{FF2B5EF4-FFF2-40B4-BE49-F238E27FC236}">
                <a16:creationId xmlns:a16="http://schemas.microsoft.com/office/drawing/2014/main" id="{A513269F-8769-4D15-BDFB-860623E861C9}"/>
              </a:ext>
            </a:extLst>
          </p:cNvPr>
          <p:cNvSpPr>
            <a:spLocks noGrp="1"/>
          </p:cNvSpPr>
          <p:nvPr>
            <p:ph type="title"/>
          </p:nvPr>
        </p:nvSpPr>
        <p:spPr>
          <a:xfrm>
            <a:off x="403315" y="884594"/>
            <a:ext cx="11380699" cy="3239349"/>
          </a:xfrm>
          <a:prstGeom prst="rect">
            <a:avLst/>
          </a:prstGeom>
        </p:spPr>
        <p:txBody>
          <a:bodyPr vert="horz" lIns="91440" tIns="45720" rIns="91440" bIns="45720" rtlCol="0" anchor="ctr">
            <a:noAutofit/>
          </a:bodyPr>
          <a:lstStyle>
            <a:lvl1pPr algn="ctr" rtl="0" eaLnBrk="0" fontAlgn="base" hangingPunct="0">
              <a:spcBef>
                <a:spcPct val="0"/>
              </a:spcBef>
              <a:spcAft>
                <a:spcPct val="0"/>
              </a:spcAft>
              <a:defRPr sz="3200">
                <a:solidFill>
                  <a:srgbClr val="F47B20"/>
                </a:solidFill>
                <a:latin typeface="+mn-lt"/>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Tree>
    <p:extLst>
      <p:ext uri="{BB962C8B-B14F-4D97-AF65-F5344CB8AC3E}">
        <p14:creationId xmlns:p14="http://schemas.microsoft.com/office/powerpoint/2010/main" val="2271711848"/>
      </p:ext>
    </p:extLst>
  </p:cSld>
  <p:clrMapOvr>
    <a:masterClrMapping/>
  </p:clrMapOvr>
  <p:extLst>
    <p:ext uri="{DCECCB84-F9BA-43D5-87BE-67443E8EF086}">
      <p15:sldGuideLst xmlns:p15="http://schemas.microsoft.com/office/powerpoint/2012/main">
        <p15:guide id="1" orient="horz" pos="1933" userDrawn="1">
          <p15:clr>
            <a:srgbClr val="FBAE40"/>
          </p15:clr>
        </p15:guide>
        <p15:guide id="2" pos="551"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Ultima ITA">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8"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1"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pic>
        <p:nvPicPr>
          <p:cNvPr id="5" name="Immagine 4" descr="Immagine che contiene testo&#10;&#10;Descrizione generata automaticamente">
            <a:extLst>
              <a:ext uri="{FF2B5EF4-FFF2-40B4-BE49-F238E27FC236}">
                <a16:creationId xmlns:a16="http://schemas.microsoft.com/office/drawing/2014/main" id="{0981F08F-C23F-18A0-B129-A9899247D3D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902" y="6022023"/>
            <a:ext cx="1319452" cy="602298"/>
          </a:xfrm>
          <a:prstGeom prst="rect">
            <a:avLst/>
          </a:prstGeom>
        </p:spPr>
      </p:pic>
      <p:pic>
        <p:nvPicPr>
          <p:cNvPr id="3" name="Picture 2" descr="A logo for a hotel&#10;&#10;Description automatically generated">
            <a:extLst>
              <a:ext uri="{FF2B5EF4-FFF2-40B4-BE49-F238E27FC236}">
                <a16:creationId xmlns:a16="http://schemas.microsoft.com/office/drawing/2014/main" id="{680D4DD2-0D52-433E-E9B2-408D5D4D7A80}"/>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4930" t="42397" r="9728" b="32135"/>
          <a:stretch/>
        </p:blipFill>
        <p:spPr>
          <a:xfrm>
            <a:off x="9993741" y="383727"/>
            <a:ext cx="1883285" cy="378886"/>
          </a:xfrm>
          <a:prstGeom prst="rect">
            <a:avLst/>
          </a:prstGeom>
        </p:spPr>
      </p:pic>
      <p:sp>
        <p:nvSpPr>
          <p:cNvPr id="4" name="CasellaDiTesto 3">
            <a:extLst>
              <a:ext uri="{FF2B5EF4-FFF2-40B4-BE49-F238E27FC236}">
                <a16:creationId xmlns:a16="http://schemas.microsoft.com/office/drawing/2014/main" id="{FCFEFCD6-B647-4E83-F323-CA45A380B17D}"/>
              </a:ext>
            </a:extLst>
          </p:cNvPr>
          <p:cNvSpPr txBox="1"/>
          <p:nvPr userDrawn="1"/>
        </p:nvSpPr>
        <p:spPr>
          <a:xfrm>
            <a:off x="2025147" y="4192108"/>
            <a:ext cx="8516679" cy="792589"/>
          </a:xfrm>
          <a:prstGeom prst="rect">
            <a:avLst/>
          </a:prstGeom>
          <a:noFill/>
        </p:spPr>
        <p:txBody>
          <a:bodyPr wrap="square">
            <a:spAutoFit/>
          </a:bodyPr>
          <a:lstStyle/>
          <a:p>
            <a:pPr algn="ctr" eaLnBrk="1" fontAlgn="auto" hangingPunct="1">
              <a:lnSpc>
                <a:spcPct val="130000"/>
              </a:lnSpc>
              <a:spcBef>
                <a:spcPts val="0"/>
              </a:spcBef>
              <a:spcAft>
                <a:spcPts val="0"/>
              </a:spcAft>
              <a:defRPr/>
            </a:pPr>
            <a:r>
              <a:rPr lang="it-IT" sz="1200" i="1">
                <a:solidFill>
                  <a:srgbClr val="001E60"/>
                </a:solidFill>
                <a:latin typeface="Source Sans Pro SemiBold" panose="020B0603030403020204" pitchFamily="34" charset="0"/>
                <a:ea typeface="Source Sans Pro Semibold" panose="020B0603030403020204" pitchFamily="34" charset="0"/>
              </a:rPr>
              <a:t>Dal 2013 The </a:t>
            </a:r>
            <a:r>
              <a:rPr lang="it-IT" sz="1200" i="1" err="1">
                <a:solidFill>
                  <a:srgbClr val="001E60"/>
                </a:solidFill>
                <a:latin typeface="Source Sans Pro SemiBold" panose="020B0603030403020204" pitchFamily="34" charset="0"/>
                <a:ea typeface="Source Sans Pro Semibold" panose="020B0603030403020204" pitchFamily="34" charset="0"/>
              </a:rPr>
              <a:t>European</a:t>
            </a:r>
            <a:r>
              <a:rPr lang="it-IT" sz="1200" i="1">
                <a:solidFill>
                  <a:srgbClr val="001E60"/>
                </a:solidFill>
                <a:latin typeface="Source Sans Pro SemiBold" panose="020B0603030403020204" pitchFamily="34" charset="0"/>
                <a:ea typeface="Source Sans Pro Semibold" panose="020B0603030403020204" pitchFamily="34" charset="0"/>
              </a:rPr>
              <a:t> House - Ambrosetti è stata nominata nella categoria "Best Private </a:t>
            </a:r>
            <a:r>
              <a:rPr lang="it-IT" sz="1200" i="1" err="1">
                <a:solidFill>
                  <a:srgbClr val="001E60"/>
                </a:solidFill>
                <a:latin typeface="Source Sans Pro SemiBold" panose="020B0603030403020204" pitchFamily="34" charset="0"/>
                <a:ea typeface="Source Sans Pro Semibold" panose="020B0603030403020204" pitchFamily="34" charset="0"/>
              </a:rPr>
              <a:t>Think</a:t>
            </a:r>
            <a:r>
              <a:rPr lang="it-IT" sz="1200" i="1">
                <a:solidFill>
                  <a:srgbClr val="001E60"/>
                </a:solidFill>
                <a:latin typeface="Source Sans Pro SemiBold" panose="020B0603030403020204" pitchFamily="34" charset="0"/>
                <a:ea typeface="Source Sans Pro Semibold" panose="020B0603030403020204" pitchFamily="34" charset="0"/>
              </a:rPr>
              <a:t> Tanks" - 1° </a:t>
            </a:r>
            <a:r>
              <a:rPr lang="it-IT" sz="1200" i="1" err="1">
                <a:solidFill>
                  <a:srgbClr val="001E60"/>
                </a:solidFill>
                <a:latin typeface="Source Sans Pro SemiBold" panose="020B0603030403020204" pitchFamily="34" charset="0"/>
                <a:ea typeface="Source Sans Pro Semibold" panose="020B0603030403020204" pitchFamily="34" charset="0"/>
              </a:rPr>
              <a:t>Think</a:t>
            </a:r>
            <a:r>
              <a:rPr lang="it-IT" sz="1200" i="1">
                <a:solidFill>
                  <a:srgbClr val="001E60"/>
                </a:solidFill>
                <a:latin typeface="Source Sans Pro SemiBold" panose="020B0603030403020204" pitchFamily="34" charset="0"/>
                <a:ea typeface="Source Sans Pro Semibold" panose="020B0603030403020204" pitchFamily="34" charset="0"/>
              </a:rPr>
              <a:t> Tank in Italia, 4° nell’Unione Europea e tra i più rispettati indipendenti al mondo su 11.175 a livello globale </a:t>
            </a:r>
            <a:br>
              <a:rPr lang="it-IT" sz="1200" i="1">
                <a:solidFill>
                  <a:srgbClr val="001E60"/>
                </a:solidFill>
                <a:latin typeface="Source Sans Pro SemiBold" panose="020B0603030403020204" pitchFamily="34" charset="0"/>
                <a:ea typeface="Source Sans Pro Semibold" panose="020B0603030403020204" pitchFamily="34" charset="0"/>
              </a:rPr>
            </a:br>
            <a:r>
              <a:rPr lang="it-IT" sz="1200" i="1">
                <a:solidFill>
                  <a:srgbClr val="001E60"/>
                </a:solidFill>
                <a:latin typeface="Source Sans Pro SemiBold" panose="020B0603030403020204" pitchFamily="34" charset="0"/>
                <a:ea typeface="Source Sans Pro Semibold" panose="020B0603030403020204" pitchFamily="34" charset="0"/>
              </a:rPr>
              <a:t>(fonte: “Global Go To </a:t>
            </a:r>
            <a:r>
              <a:rPr lang="it-IT" sz="1200" i="1" err="1">
                <a:solidFill>
                  <a:srgbClr val="001E60"/>
                </a:solidFill>
                <a:latin typeface="Source Sans Pro SemiBold" panose="020B0603030403020204" pitchFamily="34" charset="0"/>
                <a:ea typeface="Source Sans Pro Semibold" panose="020B0603030403020204" pitchFamily="34" charset="0"/>
              </a:rPr>
              <a:t>Think</a:t>
            </a:r>
            <a:r>
              <a:rPr lang="it-IT" sz="1200" i="1">
                <a:solidFill>
                  <a:srgbClr val="001E60"/>
                </a:solidFill>
                <a:latin typeface="Source Sans Pro SemiBold" panose="020B0603030403020204" pitchFamily="34" charset="0"/>
                <a:ea typeface="Source Sans Pro Semibold" panose="020B0603030403020204" pitchFamily="34" charset="0"/>
              </a:rPr>
              <a:t> Tanks Report” dell’Università della Pennsylvania)</a:t>
            </a:r>
            <a:endParaRPr lang="it-IT" sz="1200" i="1">
              <a:solidFill>
                <a:srgbClr val="001E60"/>
              </a:solidFill>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366865096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image" Target="../media/image3.jpeg"/><Relationship Id="rId3" Type="http://schemas.openxmlformats.org/officeDocument/2006/relationships/slideLayout" Target="../slideLayouts/slideLayout22.xml"/><Relationship Id="rId21" Type="http://schemas.openxmlformats.org/officeDocument/2006/relationships/theme" Target="../theme/theme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image" Target="../media/image2.jpeg"/><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emf"/><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oleObject" Target="../embeddings/oleObject5.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3.jpe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2.jpeg"/><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image" Target="../media/image1.emf"/><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oleObject" Target="../embeddings/oleObject1.bin"/><Relationship Id="rId2" Type="http://schemas.openxmlformats.org/officeDocument/2006/relationships/slideLayout" Target="../slideLayouts/slideLayout62.xml"/><Relationship Id="rId16" Type="http://schemas.openxmlformats.org/officeDocument/2006/relationships/tags" Target="../tags/tag14.xml"/><Relationship Id="rId20" Type="http://schemas.openxmlformats.org/officeDocument/2006/relationships/image" Target="../media/image3.jpe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heme" Target="../theme/theme4.xml"/><Relationship Id="rId10" Type="http://schemas.openxmlformats.org/officeDocument/2006/relationships/slideLayout" Target="../slideLayouts/slideLayout70.xml"/><Relationship Id="rId19" Type="http://schemas.openxmlformats.org/officeDocument/2006/relationships/image" Target="../media/image2.jpeg"/><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image" Target="../media/image3.jpeg"/><Relationship Id="rId3" Type="http://schemas.openxmlformats.org/officeDocument/2006/relationships/slideLayout" Target="../slideLayouts/slideLayout77.xml"/><Relationship Id="rId21" Type="http://schemas.openxmlformats.org/officeDocument/2006/relationships/theme" Target="../theme/theme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image" Target="../media/image2.jpeg"/><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image" Target="../media/image1.emf"/><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oleObject" Target="../embeddings/oleObject5.bin"/><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tags" Target="../tags/tag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oleObject" Target="../embeddings/oleObject7.bin"/><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ags" Target="../tags/tag19.xml"/><Relationship Id="rId2" Type="http://schemas.openxmlformats.org/officeDocument/2006/relationships/slideLayout" Target="../slideLayouts/slideLayout96.xml"/><Relationship Id="rId16" Type="http://schemas.openxmlformats.org/officeDocument/2006/relationships/image" Target="../media/image3.jpeg"/><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6.xml"/><Relationship Id="rId5" Type="http://schemas.openxmlformats.org/officeDocument/2006/relationships/slideLayout" Target="../slideLayouts/slideLayout99.xml"/><Relationship Id="rId15" Type="http://schemas.openxmlformats.org/officeDocument/2006/relationships/image" Target="../media/image2.jpeg"/><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C5F2D8A8-0099-4A9D-8086-F133407E0391}"/>
              </a:ext>
            </a:extLst>
          </p:cNvPr>
          <p:cNvGraphicFramePr>
            <a:graphicFrameLocks noChangeAspect="1"/>
          </p:cNvGraphicFramePr>
          <p:nvPr userDrawn="1">
            <p:custDataLst>
              <p:tags r:id="rId21"/>
            </p:custDataLst>
            <p:extLst>
              <p:ext uri="{D42A27DB-BD31-4B8C-83A1-F6EECF244321}">
                <p14:modId xmlns:p14="http://schemas.microsoft.com/office/powerpoint/2010/main" val="419518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22" imgW="395" imgH="396" progId="TCLayout.ActiveDocument.1">
                  <p:embed/>
                </p:oleObj>
              </mc:Choice>
              <mc:Fallback>
                <p:oleObj name="Diapositiva think-cell" r:id="rId22" imgW="395" imgH="396" progId="TCLayout.ActiveDocument.1">
                  <p:embed/>
                  <p:pic>
                    <p:nvPicPr>
                      <p:cNvPr id="2" name="Oggetto 1" hidden="1">
                        <a:extLst>
                          <a:ext uri="{FF2B5EF4-FFF2-40B4-BE49-F238E27FC236}">
                            <a16:creationId xmlns:a16="http://schemas.microsoft.com/office/drawing/2014/main" id="{C5F2D8A8-0099-4A9D-8086-F133407E0391}"/>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pic>
        <p:nvPicPr>
          <p:cNvPr id="7" name="Immagine 6"/>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9"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0" i="0" baseline="0" smtClean="0">
                <a:solidFill>
                  <a:srgbClr val="F47B20"/>
                </a:solidFill>
                <a:latin typeface="Source Sans Pro Semibold"/>
                <a:cs typeface="Source Sans Pro Semibold"/>
              </a:rPr>
              <a:pPr algn="ctr" eaLnBrk="1" hangingPunct="1"/>
              <a:t>‹N›</a:t>
            </a:fld>
            <a:endParaRPr lang="it-IT" sz="1001" b="0" i="0" baseline="0">
              <a:solidFill>
                <a:srgbClr val="F47B20"/>
              </a:solidFill>
              <a:latin typeface="Source Sans Pro Semibold"/>
              <a:cs typeface="Source Sans Pro Semibold"/>
            </a:endParaRPr>
          </a:p>
        </p:txBody>
      </p:sp>
      <p:cxnSp>
        <p:nvCxnSpPr>
          <p:cNvPr id="8" name="Connettore diritto 7">
            <a:extLst>
              <a:ext uri="{FF2B5EF4-FFF2-40B4-BE49-F238E27FC236}">
                <a16:creationId xmlns:a16="http://schemas.microsoft.com/office/drawing/2014/main" id="{B914DDBC-A419-41FA-A158-73DD87EDB6E8}"/>
              </a:ext>
            </a:extLst>
          </p:cNvPr>
          <p:cNvCxnSpPr>
            <a:cxnSpLocks/>
          </p:cNvCxnSpPr>
          <p:nvPr userDrawn="1"/>
        </p:nvCxnSpPr>
        <p:spPr>
          <a:xfrm>
            <a:off x="399888" y="918324"/>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pic>
        <p:nvPicPr>
          <p:cNvPr id="4" name="Immagine 3" descr="Immagine che contiene testo, Carattere, logo, Elementi grafici&#10;&#10;Descrizione generata automaticamente">
            <a:extLst>
              <a:ext uri="{FF2B5EF4-FFF2-40B4-BE49-F238E27FC236}">
                <a16:creationId xmlns:a16="http://schemas.microsoft.com/office/drawing/2014/main" id="{ED0D45C5-4E88-7A3A-93B8-45968E2A25FD}"/>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0" y="6308752"/>
            <a:ext cx="1620000" cy="526733"/>
          </a:xfrm>
          <a:prstGeom prst="rect">
            <a:avLst/>
          </a:prstGeom>
        </p:spPr>
      </p:pic>
    </p:spTree>
    <p:extLst>
      <p:ext uri="{BB962C8B-B14F-4D97-AF65-F5344CB8AC3E}">
        <p14:creationId xmlns:p14="http://schemas.microsoft.com/office/powerpoint/2010/main" val="2836490435"/>
      </p:ext>
    </p:extLst>
  </p:cSld>
  <p:clrMap bg1="lt1" tx1="dk1" bg2="lt2" tx2="dk2" accent1="accent1" accent2="accent2" accent3="accent3" accent4="accent4" accent5="accent5" accent6="accent6" hlink="hlink" folHlink="folHlink"/>
  <p:sldLayoutIdLst>
    <p:sldLayoutId id="2147483664" r:id="rId1"/>
    <p:sldLayoutId id="2147483675" r:id="rId2"/>
    <p:sldLayoutId id="2147483666" r:id="rId3"/>
    <p:sldLayoutId id="2147483688" r:id="rId4"/>
    <p:sldLayoutId id="2147483673" r:id="rId5"/>
    <p:sldLayoutId id="2147483689" r:id="rId6"/>
    <p:sldLayoutId id="2147483674" r:id="rId7"/>
    <p:sldLayoutId id="2147483678" r:id="rId8"/>
    <p:sldLayoutId id="2147483680" r:id="rId9"/>
    <p:sldLayoutId id="2147483679" r:id="rId10"/>
    <p:sldLayoutId id="2147483691" r:id="rId11"/>
    <p:sldLayoutId id="2147484055" r:id="rId12"/>
    <p:sldLayoutId id="2147484057" r:id="rId13"/>
    <p:sldLayoutId id="2147484059" r:id="rId14"/>
    <p:sldLayoutId id="2147484060" r:id="rId15"/>
    <p:sldLayoutId id="2147484062" r:id="rId16"/>
    <p:sldLayoutId id="2147484063" r:id="rId17"/>
    <p:sldLayoutId id="2147484067" r:id="rId18"/>
    <p:sldLayoutId id="2147484115" r:id="rId19"/>
  </p:sldLayoutIdLst>
  <p:txStyles>
    <p:titleStyle>
      <a:lvl1pPr algn="l" defTabSz="91441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4" indent="-228604" algn="l" defTabSz="914411"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09" indent="-228604" algn="l" defTabSz="91441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5" indent="-228604" algn="l" defTabSz="91441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21"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27"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it-IT"/>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51E3A767-D8D3-4A34-BCBD-96D6C494F544}"/>
              </a:ext>
            </a:extLst>
          </p:cNvPr>
          <p:cNvGraphicFramePr>
            <a:graphicFrameLocks noChangeAspect="1"/>
          </p:cNvGraphicFramePr>
          <p:nvPr userDrawn="1">
            <p:custDataLst>
              <p:tags r:id="rId22"/>
            </p:custDataLst>
            <p:extLst>
              <p:ext uri="{D42A27DB-BD31-4B8C-83A1-F6EECF244321}">
                <p14:modId xmlns:p14="http://schemas.microsoft.com/office/powerpoint/2010/main" val="1097061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23" imgW="473" imgH="476" progId="TCLayout.ActiveDocument.1">
                  <p:embed/>
                </p:oleObj>
              </mc:Choice>
              <mc:Fallback>
                <p:oleObj name="Diapositiva think-cell" r:id="rId23" imgW="473" imgH="476" progId="TCLayout.ActiveDocument.1">
                  <p:embed/>
                  <p:pic>
                    <p:nvPicPr>
                      <p:cNvPr id="3" name="Oggetto 2" hidden="1">
                        <a:extLst>
                          <a:ext uri="{FF2B5EF4-FFF2-40B4-BE49-F238E27FC236}">
                            <a16:creationId xmlns:a16="http://schemas.microsoft.com/office/drawing/2014/main" id="{51E3A767-D8D3-4A34-BCBD-96D6C494F544}"/>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33" name="Rettangolo 3">
            <a:extLst>
              <a:ext uri="{FF2B5EF4-FFF2-40B4-BE49-F238E27FC236}">
                <a16:creationId xmlns:a16="http://schemas.microsoft.com/office/drawing/2014/main" id="{E3EA3DAB-BB25-4C0C-B7A9-7DAEF0B13306}"/>
              </a:ext>
            </a:extLst>
          </p:cNvPr>
          <p:cNvSpPr>
            <a:spLocks noChangeArrowheads="1"/>
          </p:cNvSpPr>
          <p:nvPr userDrawn="1"/>
        </p:nvSpPr>
        <p:spPr bwMode="auto">
          <a:xfrm>
            <a:off x="11690350" y="65089"/>
            <a:ext cx="323851" cy="504825"/>
          </a:xfrm>
          <a:prstGeom prst="rect">
            <a:avLst/>
          </a:prstGeom>
          <a:solidFill>
            <a:schemeClr val="bg1"/>
          </a:solidFill>
          <a:ln>
            <a:noFill/>
          </a:ln>
        </p:spPr>
        <p:txBody>
          <a:bodyPr/>
          <a:lstStyle>
            <a:lvl1pPr>
              <a:defRPr sz="1600">
                <a:solidFill>
                  <a:srgbClr val="020060"/>
                </a:solidFill>
                <a:latin typeface="Tahoma" panose="020B0604030504040204" pitchFamily="34" charset="0"/>
                <a:ea typeface="MS PGothic" panose="020B0600070205080204" pitchFamily="34" charset="-128"/>
              </a:defRPr>
            </a:lvl1pPr>
            <a:lvl2pPr marL="742950" indent="-285750">
              <a:defRPr sz="1600">
                <a:solidFill>
                  <a:srgbClr val="020060"/>
                </a:solidFill>
                <a:latin typeface="Tahoma" panose="020B0604030504040204" pitchFamily="34" charset="0"/>
                <a:ea typeface="MS PGothic" panose="020B0600070205080204" pitchFamily="34" charset="-128"/>
              </a:defRPr>
            </a:lvl2pPr>
            <a:lvl3pPr marL="1143000" indent="-228600">
              <a:defRPr sz="1600">
                <a:solidFill>
                  <a:srgbClr val="020060"/>
                </a:solidFill>
                <a:latin typeface="Tahoma" panose="020B0604030504040204" pitchFamily="34" charset="0"/>
                <a:ea typeface="MS PGothic" panose="020B0600070205080204" pitchFamily="34" charset="-128"/>
              </a:defRPr>
            </a:lvl3pPr>
            <a:lvl4pPr marL="1600200" indent="-228600">
              <a:defRPr sz="1600">
                <a:solidFill>
                  <a:srgbClr val="020060"/>
                </a:solidFill>
                <a:latin typeface="Tahoma" panose="020B0604030504040204" pitchFamily="34" charset="0"/>
                <a:ea typeface="MS PGothic" panose="020B0600070205080204" pitchFamily="34" charset="-128"/>
              </a:defRPr>
            </a:lvl4pPr>
            <a:lvl5pPr marL="2057400" indent="-228600">
              <a:defRPr sz="1600">
                <a:solidFill>
                  <a:srgbClr val="020060"/>
                </a:solidFill>
                <a:latin typeface="Tahom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9pPr>
          </a:lstStyle>
          <a:p>
            <a:pPr eaLnBrk="1" hangingPunct="1">
              <a:defRPr/>
            </a:pPr>
            <a:endParaRPr lang="it-IT" altLang="it-IT" sz="1600"/>
          </a:p>
        </p:txBody>
      </p:sp>
      <p:cxnSp>
        <p:nvCxnSpPr>
          <p:cNvPr id="13" name="Connettore diritto 12">
            <a:extLst>
              <a:ext uri="{FF2B5EF4-FFF2-40B4-BE49-F238E27FC236}">
                <a16:creationId xmlns:a16="http://schemas.microsoft.com/office/drawing/2014/main" id="{C3CCA961-8D61-45BA-B27F-FB2DFAF75489}"/>
              </a:ext>
            </a:extLst>
          </p:cNvPr>
          <p:cNvCxnSpPr>
            <a:cxnSpLocks/>
          </p:cNvCxnSpPr>
          <p:nvPr userDrawn="1"/>
        </p:nvCxnSpPr>
        <p:spPr>
          <a:xfrm>
            <a:off x="399888" y="918324"/>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pic>
        <p:nvPicPr>
          <p:cNvPr id="14" name="Immagine 13">
            <a:extLst>
              <a:ext uri="{FF2B5EF4-FFF2-40B4-BE49-F238E27FC236}">
                <a16:creationId xmlns:a16="http://schemas.microsoft.com/office/drawing/2014/main" id="{168F8B35-366F-48D5-AE67-32103A49E414}"/>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15" name="CasellaDiTesto 2">
            <a:extLst>
              <a:ext uri="{FF2B5EF4-FFF2-40B4-BE49-F238E27FC236}">
                <a16:creationId xmlns:a16="http://schemas.microsoft.com/office/drawing/2014/main" id="{49832D1E-87FA-482C-A166-12681ADB4B36}"/>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0" i="0" baseline="0" smtClean="0">
                <a:solidFill>
                  <a:srgbClr val="F47B20"/>
                </a:solidFill>
                <a:latin typeface="Source Sans Pro Semibold"/>
                <a:cs typeface="Source Sans Pro Semibold"/>
              </a:rPr>
              <a:pPr algn="ctr" eaLnBrk="1" hangingPunct="1"/>
              <a:t>‹N›</a:t>
            </a:fld>
            <a:endParaRPr lang="it-IT" sz="1001" b="0" i="0" baseline="0">
              <a:solidFill>
                <a:srgbClr val="F47B20"/>
              </a:solidFill>
              <a:latin typeface="Source Sans Pro Semibold"/>
              <a:cs typeface="Source Sans Pro Semibold"/>
            </a:endParaRPr>
          </a:p>
        </p:txBody>
      </p:sp>
      <p:sp>
        <p:nvSpPr>
          <p:cNvPr id="4" name="Segnaposto titolo 3">
            <a:extLst>
              <a:ext uri="{FF2B5EF4-FFF2-40B4-BE49-F238E27FC236}">
                <a16:creationId xmlns:a16="http://schemas.microsoft.com/office/drawing/2014/main" id="{51AF4284-6C34-43A5-A2D3-3714A380BFE0}"/>
              </a:ext>
            </a:extLst>
          </p:cNvPr>
          <p:cNvSpPr>
            <a:spLocks noGrp="1"/>
          </p:cNvSpPr>
          <p:nvPr>
            <p:ph type="title"/>
          </p:nvPr>
        </p:nvSpPr>
        <p:spPr>
          <a:xfrm>
            <a:off x="403315" y="365126"/>
            <a:ext cx="10932268" cy="553199"/>
          </a:xfrm>
          <a:prstGeom prst="rect">
            <a:avLst/>
          </a:prstGeom>
        </p:spPr>
        <p:txBody>
          <a:bodyPr vert="horz" lIns="91440" tIns="45720" rIns="91440" bIns="45720" rtlCol="0" anchor="ctr">
            <a:noAutofit/>
          </a:bodyPr>
          <a:lstStyle/>
          <a:p>
            <a:r>
              <a:rPr lang="it-IT"/>
              <a:t>Fare clic per modificare lo stile del titolo dello schema</a:t>
            </a:r>
          </a:p>
        </p:txBody>
      </p:sp>
      <p:sp>
        <p:nvSpPr>
          <p:cNvPr id="5" name="Segnaposto testo 4">
            <a:extLst>
              <a:ext uri="{FF2B5EF4-FFF2-40B4-BE49-F238E27FC236}">
                <a16:creationId xmlns:a16="http://schemas.microsoft.com/office/drawing/2014/main" id="{223B1B66-22C7-4D9B-9009-91B4BE9340C3}"/>
              </a:ext>
            </a:extLst>
          </p:cNvPr>
          <p:cNvSpPr>
            <a:spLocks noGrp="1"/>
          </p:cNvSpPr>
          <p:nvPr>
            <p:ph type="body" idx="1"/>
          </p:nvPr>
        </p:nvSpPr>
        <p:spPr>
          <a:xfrm>
            <a:off x="399889" y="1311248"/>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p:txBody>
      </p:sp>
      <p:pic>
        <p:nvPicPr>
          <p:cNvPr id="6" name="Immagine 5" descr="Immagine che contiene testo, Carattere, logo, Elementi grafici&#10;&#10;Descrizione generata automaticamente">
            <a:extLst>
              <a:ext uri="{FF2B5EF4-FFF2-40B4-BE49-F238E27FC236}">
                <a16:creationId xmlns:a16="http://schemas.microsoft.com/office/drawing/2014/main" id="{78A22B2E-110C-6630-3603-21584F9CDACB}"/>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0" y="6308752"/>
            <a:ext cx="1620000" cy="526733"/>
          </a:xfrm>
          <a:prstGeom prst="rect">
            <a:avLst/>
          </a:prstGeom>
        </p:spPr>
      </p:pic>
    </p:spTree>
    <p:extLst>
      <p:ext uri="{BB962C8B-B14F-4D97-AF65-F5344CB8AC3E}">
        <p14:creationId xmlns:p14="http://schemas.microsoft.com/office/powerpoint/2010/main" val="982166135"/>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Lst>
  <p:hf sldNum="0" hdr="0" ftr="0" dt="0"/>
  <p:txStyles>
    <p:title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p:titleStyle>
    <p:bodyStyle>
      <a:lvl1pPr marL="355604" indent="-355604" algn="l" rtl="0" eaLnBrk="0" fontAlgn="base" hangingPunct="0">
        <a:spcBef>
          <a:spcPct val="50000"/>
        </a:spcBef>
        <a:spcAft>
          <a:spcPct val="0"/>
        </a:spcAft>
        <a:buClr>
          <a:srgbClr val="FF6600"/>
        </a:buClr>
        <a:buSzPct val="105000"/>
        <a:buFont typeface="Arial" panose="020B0604020202020204" pitchFamily="34" charset="0"/>
        <a:buChar char="•"/>
        <a:defRPr sz="1900">
          <a:solidFill>
            <a:srgbClr val="003A80"/>
          </a:solidFill>
          <a:latin typeface="Source Sans Pro SemiBold" panose="020B0603030403020204" pitchFamily="34" charset="0"/>
          <a:ea typeface="Source Sans Pro SemiBold" panose="020B0603030403020204" pitchFamily="34" charset="0"/>
          <a:cs typeface="+mn-cs"/>
        </a:defRPr>
      </a:lvl1pPr>
      <a:lvl2pPr marL="723909" indent="-379418" algn="l" rtl="0" eaLnBrk="0" fontAlgn="base" hangingPunct="0">
        <a:spcBef>
          <a:spcPct val="50000"/>
        </a:spcBef>
        <a:spcAft>
          <a:spcPct val="0"/>
        </a:spcAft>
        <a:buClr>
          <a:srgbClr val="FF6600"/>
        </a:buClr>
        <a:buSzPct val="70000"/>
        <a:buFont typeface="Courier New" panose="02070309020205020404" pitchFamily="49" charset="0"/>
        <a:buChar char="o"/>
        <a:defRPr sz="1900">
          <a:solidFill>
            <a:srgbClr val="003A80"/>
          </a:solidFill>
          <a:latin typeface="Source Sans Pro SemiBold" panose="020B0603030403020204" pitchFamily="34" charset="0"/>
          <a:ea typeface="Source Sans Pro SemiBold" panose="020B0603030403020204" pitchFamily="34" charset="0"/>
        </a:defRPr>
      </a:lvl2pPr>
      <a:lvl3pPr marL="1079514" indent="-355604" algn="l" rtl="0" eaLnBrk="0" fontAlgn="base" hangingPunct="0">
        <a:spcBef>
          <a:spcPct val="50000"/>
        </a:spcBef>
        <a:spcAft>
          <a:spcPct val="0"/>
        </a:spcAft>
        <a:buClr>
          <a:srgbClr val="F47B20"/>
        </a:buClr>
        <a:buSzPct val="80000"/>
        <a:buFont typeface="Source Sans Pro SemiBold" panose="020B0603030403020204" pitchFamily="34" charset="0"/>
        <a:buChar char="-"/>
        <a:defRPr sz="1900">
          <a:solidFill>
            <a:srgbClr val="003A80"/>
          </a:solidFill>
          <a:latin typeface="Source Sans Pro SemiBold" panose="020B0603030403020204" pitchFamily="34" charset="0"/>
          <a:ea typeface="Source Sans Pro SemiBold" panose="020B0603030403020204" pitchFamily="34" charset="0"/>
        </a:defRPr>
      </a:lvl3pPr>
      <a:lvl4pPr marL="1874861" indent="-349254" algn="l" rtl="0" eaLnBrk="0" fontAlgn="base" hangingPunct="0">
        <a:spcBef>
          <a:spcPct val="50000"/>
        </a:spcBef>
        <a:spcAft>
          <a:spcPct val="0"/>
        </a:spcAft>
        <a:buClr>
          <a:srgbClr val="16165D"/>
        </a:buClr>
        <a:buSzPct val="105000"/>
        <a:buFont typeface="Arial" panose="020B0604020202020204" pitchFamily="34" charset="0"/>
        <a:buChar char="•"/>
        <a:defRPr sz="1900">
          <a:solidFill>
            <a:srgbClr val="003A80"/>
          </a:solidFill>
          <a:latin typeface="Source Sans Pro SemiBold" panose="020B0603030403020204" pitchFamily="34" charset="0"/>
          <a:ea typeface="Source Sans Pro SemiBold" panose="020B0603030403020204" pitchFamily="34" charset="0"/>
        </a:defRPr>
      </a:lvl4pPr>
      <a:lvl5pPr marL="2543207" indent="-339729" algn="l" rtl="0" eaLnBrk="0" fontAlgn="base" hangingPunct="0">
        <a:spcBef>
          <a:spcPct val="20000"/>
        </a:spcBef>
        <a:spcAft>
          <a:spcPct val="0"/>
        </a:spcAft>
        <a:buClr>
          <a:srgbClr val="16165D"/>
        </a:buClr>
        <a:buSzPct val="120000"/>
        <a:buFont typeface="Arial" panose="020B0604020202020204" pitchFamily="34" charset="0"/>
        <a:buChar char="•"/>
        <a:defRPr sz="2400">
          <a:solidFill>
            <a:srgbClr val="003A80"/>
          </a:solidFill>
          <a:latin typeface="Source Sans Pro SemiBold" panose="020B0603030403020204" pitchFamily="34" charset="0"/>
          <a:ea typeface="Source Sans Pro SemiBold" panose="020B0603030403020204" pitchFamily="34" charset="0"/>
        </a:defRPr>
      </a:lvl5pPr>
      <a:lvl6pPr marL="3095009" indent="-281365" algn="l" rtl="0" fontAlgn="base">
        <a:spcBef>
          <a:spcPct val="20000"/>
        </a:spcBef>
        <a:spcAft>
          <a:spcPct val="0"/>
        </a:spcAft>
        <a:buChar char="»"/>
        <a:defRPr sz="2462">
          <a:solidFill>
            <a:schemeClr val="tx1"/>
          </a:solidFill>
          <a:latin typeface="Times New Roman" pitchFamily="18" charset="0"/>
        </a:defRPr>
      </a:lvl6pPr>
      <a:lvl7pPr marL="3657736" indent="-281365" algn="l" rtl="0" fontAlgn="base">
        <a:spcBef>
          <a:spcPct val="20000"/>
        </a:spcBef>
        <a:spcAft>
          <a:spcPct val="0"/>
        </a:spcAft>
        <a:buChar char="»"/>
        <a:defRPr sz="2462">
          <a:solidFill>
            <a:schemeClr val="tx1"/>
          </a:solidFill>
          <a:latin typeface="Times New Roman" pitchFamily="18" charset="0"/>
        </a:defRPr>
      </a:lvl7pPr>
      <a:lvl8pPr marL="4220465" indent="-281365" algn="l" rtl="0" fontAlgn="base">
        <a:spcBef>
          <a:spcPct val="20000"/>
        </a:spcBef>
        <a:spcAft>
          <a:spcPct val="0"/>
        </a:spcAft>
        <a:buChar char="»"/>
        <a:defRPr sz="2462">
          <a:solidFill>
            <a:schemeClr val="tx1"/>
          </a:solidFill>
          <a:latin typeface="Times New Roman" pitchFamily="18" charset="0"/>
        </a:defRPr>
      </a:lvl8pPr>
      <a:lvl9pPr marL="4783194" indent="-281365" algn="l" rtl="0" fontAlgn="base">
        <a:spcBef>
          <a:spcPct val="20000"/>
        </a:spcBef>
        <a:spcAft>
          <a:spcPct val="0"/>
        </a:spcAft>
        <a:buChar char="»"/>
        <a:defRPr sz="2462">
          <a:solidFill>
            <a:schemeClr val="tx1"/>
          </a:solidFill>
          <a:latin typeface="Times New Roman" pitchFamily="18" charset="0"/>
        </a:defRPr>
      </a:lvl9pPr>
    </p:bodyStyle>
    <p:otherStyle>
      <a:defPPr>
        <a:defRPr lang="it-IT"/>
      </a:defPPr>
      <a:lvl1pPr marL="0" algn="l" defTabSz="1125458" rtl="0" eaLnBrk="1" latinLnBrk="0" hangingPunct="1">
        <a:defRPr sz="2215" kern="1200">
          <a:solidFill>
            <a:schemeClr val="tx1"/>
          </a:solidFill>
          <a:latin typeface="+mn-lt"/>
          <a:ea typeface="+mn-ea"/>
          <a:cs typeface="+mn-cs"/>
        </a:defRPr>
      </a:lvl1pPr>
      <a:lvl2pPr marL="562729" algn="l" defTabSz="1125458" rtl="0" eaLnBrk="1" latinLnBrk="0" hangingPunct="1">
        <a:defRPr sz="2215" kern="1200">
          <a:solidFill>
            <a:schemeClr val="tx1"/>
          </a:solidFill>
          <a:latin typeface="+mn-lt"/>
          <a:ea typeface="+mn-ea"/>
          <a:cs typeface="+mn-cs"/>
        </a:defRPr>
      </a:lvl2pPr>
      <a:lvl3pPr marL="1125458" algn="l" defTabSz="1125458" rtl="0" eaLnBrk="1" latinLnBrk="0" hangingPunct="1">
        <a:defRPr sz="2215" kern="1200">
          <a:solidFill>
            <a:schemeClr val="tx1"/>
          </a:solidFill>
          <a:latin typeface="+mn-lt"/>
          <a:ea typeface="+mn-ea"/>
          <a:cs typeface="+mn-cs"/>
        </a:defRPr>
      </a:lvl3pPr>
      <a:lvl4pPr marL="1688186" algn="l" defTabSz="1125458" rtl="0" eaLnBrk="1" latinLnBrk="0" hangingPunct="1">
        <a:defRPr sz="2215" kern="1200">
          <a:solidFill>
            <a:schemeClr val="tx1"/>
          </a:solidFill>
          <a:latin typeface="+mn-lt"/>
          <a:ea typeface="+mn-ea"/>
          <a:cs typeface="+mn-cs"/>
        </a:defRPr>
      </a:lvl4pPr>
      <a:lvl5pPr marL="2250915" algn="l" defTabSz="1125458" rtl="0" eaLnBrk="1" latinLnBrk="0" hangingPunct="1">
        <a:defRPr sz="2215" kern="1200">
          <a:solidFill>
            <a:schemeClr val="tx1"/>
          </a:solidFill>
          <a:latin typeface="+mn-lt"/>
          <a:ea typeface="+mn-ea"/>
          <a:cs typeface="+mn-cs"/>
        </a:defRPr>
      </a:lvl5pPr>
      <a:lvl6pPr marL="2813644" algn="l" defTabSz="1125458" rtl="0" eaLnBrk="1" latinLnBrk="0" hangingPunct="1">
        <a:defRPr sz="2215" kern="1200">
          <a:solidFill>
            <a:schemeClr val="tx1"/>
          </a:solidFill>
          <a:latin typeface="+mn-lt"/>
          <a:ea typeface="+mn-ea"/>
          <a:cs typeface="+mn-cs"/>
        </a:defRPr>
      </a:lvl6pPr>
      <a:lvl7pPr marL="3376373" algn="l" defTabSz="1125458" rtl="0" eaLnBrk="1" latinLnBrk="0" hangingPunct="1">
        <a:defRPr sz="2215" kern="1200">
          <a:solidFill>
            <a:schemeClr val="tx1"/>
          </a:solidFill>
          <a:latin typeface="+mn-lt"/>
          <a:ea typeface="+mn-ea"/>
          <a:cs typeface="+mn-cs"/>
        </a:defRPr>
      </a:lvl7pPr>
      <a:lvl8pPr marL="3939102" algn="l" defTabSz="1125458" rtl="0" eaLnBrk="1" latinLnBrk="0" hangingPunct="1">
        <a:defRPr sz="2215" kern="1200">
          <a:solidFill>
            <a:schemeClr val="tx1"/>
          </a:solidFill>
          <a:latin typeface="+mn-lt"/>
          <a:ea typeface="+mn-ea"/>
          <a:cs typeface="+mn-cs"/>
        </a:defRPr>
      </a:lvl8pPr>
      <a:lvl9pPr marL="4501830" algn="l" defTabSz="1125458" rtl="0" eaLnBrk="1" latinLnBrk="0" hangingPunct="1">
        <a:defRPr sz="221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3" name="Rettangolo 3">
            <a:extLst>
              <a:ext uri="{FF2B5EF4-FFF2-40B4-BE49-F238E27FC236}">
                <a16:creationId xmlns:a16="http://schemas.microsoft.com/office/drawing/2014/main" id="{E3EA3DAB-BB25-4C0C-B7A9-7DAEF0B13306}"/>
              </a:ext>
            </a:extLst>
          </p:cNvPr>
          <p:cNvSpPr>
            <a:spLocks noChangeArrowheads="1"/>
          </p:cNvSpPr>
          <p:nvPr userDrawn="1"/>
        </p:nvSpPr>
        <p:spPr bwMode="auto">
          <a:xfrm>
            <a:off x="11690350" y="65089"/>
            <a:ext cx="323851" cy="504825"/>
          </a:xfrm>
          <a:prstGeom prst="rect">
            <a:avLst/>
          </a:prstGeom>
          <a:solidFill>
            <a:schemeClr val="bg1"/>
          </a:solidFill>
          <a:ln>
            <a:noFill/>
          </a:ln>
        </p:spPr>
        <p:txBody>
          <a:bodyPr/>
          <a:lstStyle>
            <a:lvl1pPr>
              <a:defRPr sz="1600">
                <a:solidFill>
                  <a:srgbClr val="020060"/>
                </a:solidFill>
                <a:latin typeface="Tahoma" panose="020B0604030504040204" pitchFamily="34" charset="0"/>
                <a:ea typeface="MS PGothic" panose="020B0600070205080204" pitchFamily="34" charset="-128"/>
              </a:defRPr>
            </a:lvl1pPr>
            <a:lvl2pPr marL="742950" indent="-285750">
              <a:defRPr sz="1600">
                <a:solidFill>
                  <a:srgbClr val="020060"/>
                </a:solidFill>
                <a:latin typeface="Tahoma" panose="020B0604030504040204" pitchFamily="34" charset="0"/>
                <a:ea typeface="MS PGothic" panose="020B0600070205080204" pitchFamily="34" charset="-128"/>
              </a:defRPr>
            </a:lvl2pPr>
            <a:lvl3pPr marL="1143000" indent="-228600">
              <a:defRPr sz="1600">
                <a:solidFill>
                  <a:srgbClr val="020060"/>
                </a:solidFill>
                <a:latin typeface="Tahoma" panose="020B0604030504040204" pitchFamily="34" charset="0"/>
                <a:ea typeface="MS PGothic" panose="020B0600070205080204" pitchFamily="34" charset="-128"/>
              </a:defRPr>
            </a:lvl3pPr>
            <a:lvl4pPr marL="1600200" indent="-228600">
              <a:defRPr sz="1600">
                <a:solidFill>
                  <a:srgbClr val="020060"/>
                </a:solidFill>
                <a:latin typeface="Tahoma" panose="020B0604030504040204" pitchFamily="34" charset="0"/>
                <a:ea typeface="MS PGothic" panose="020B0600070205080204" pitchFamily="34" charset="-128"/>
              </a:defRPr>
            </a:lvl4pPr>
            <a:lvl5pPr marL="2057400" indent="-228600">
              <a:defRPr sz="1600">
                <a:solidFill>
                  <a:srgbClr val="020060"/>
                </a:solidFill>
                <a:latin typeface="Tahom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9pPr>
          </a:lstStyle>
          <a:p>
            <a:pPr eaLnBrk="1" hangingPunct="1">
              <a:defRPr/>
            </a:pPr>
            <a:endParaRPr lang="it-IT" altLang="it-IT" sz="1600"/>
          </a:p>
        </p:txBody>
      </p:sp>
      <p:cxnSp>
        <p:nvCxnSpPr>
          <p:cNvPr id="13" name="Connettore diritto 12">
            <a:extLst>
              <a:ext uri="{FF2B5EF4-FFF2-40B4-BE49-F238E27FC236}">
                <a16:creationId xmlns:a16="http://schemas.microsoft.com/office/drawing/2014/main" id="{C3CCA961-8D61-45BA-B27F-FB2DFAF75489}"/>
              </a:ext>
            </a:extLst>
          </p:cNvPr>
          <p:cNvCxnSpPr>
            <a:cxnSpLocks/>
          </p:cNvCxnSpPr>
          <p:nvPr userDrawn="1"/>
        </p:nvCxnSpPr>
        <p:spPr>
          <a:xfrm>
            <a:off x="399888" y="918324"/>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pic>
        <p:nvPicPr>
          <p:cNvPr id="14" name="Immagine 13">
            <a:extLst>
              <a:ext uri="{FF2B5EF4-FFF2-40B4-BE49-F238E27FC236}">
                <a16:creationId xmlns:a16="http://schemas.microsoft.com/office/drawing/2014/main" id="{168F8B35-366F-48D5-AE67-32103A49E414}"/>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15" name="CasellaDiTesto 2">
            <a:extLst>
              <a:ext uri="{FF2B5EF4-FFF2-40B4-BE49-F238E27FC236}">
                <a16:creationId xmlns:a16="http://schemas.microsoft.com/office/drawing/2014/main" id="{49832D1E-87FA-482C-A166-12681ADB4B36}"/>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0" i="0" baseline="0" smtClean="0">
                <a:solidFill>
                  <a:srgbClr val="F47B20"/>
                </a:solidFill>
                <a:latin typeface="Source Sans Pro Semibold"/>
                <a:cs typeface="Source Sans Pro Semibold"/>
              </a:rPr>
              <a:pPr algn="ctr" eaLnBrk="1" hangingPunct="1"/>
              <a:t>‹N›</a:t>
            </a:fld>
            <a:endParaRPr lang="it-IT" sz="1001" b="0" i="0" baseline="0">
              <a:solidFill>
                <a:srgbClr val="F47B20"/>
              </a:solidFill>
              <a:latin typeface="Source Sans Pro Semibold"/>
              <a:cs typeface="Source Sans Pro Semibold"/>
            </a:endParaRPr>
          </a:p>
        </p:txBody>
      </p:sp>
      <p:sp>
        <p:nvSpPr>
          <p:cNvPr id="4" name="Segnaposto titolo 3">
            <a:extLst>
              <a:ext uri="{FF2B5EF4-FFF2-40B4-BE49-F238E27FC236}">
                <a16:creationId xmlns:a16="http://schemas.microsoft.com/office/drawing/2014/main" id="{51AF4284-6C34-43A5-A2D3-3714A380BFE0}"/>
              </a:ext>
            </a:extLst>
          </p:cNvPr>
          <p:cNvSpPr>
            <a:spLocks noGrp="1"/>
          </p:cNvSpPr>
          <p:nvPr>
            <p:ph type="title"/>
          </p:nvPr>
        </p:nvSpPr>
        <p:spPr>
          <a:xfrm>
            <a:off x="407988" y="1"/>
            <a:ext cx="11376025" cy="918324"/>
          </a:xfrm>
          <a:prstGeom prst="rect">
            <a:avLst/>
          </a:prstGeom>
        </p:spPr>
        <p:txBody>
          <a:bodyPr vert="horz" lIns="91440" tIns="45720" rIns="91440" bIns="45720" rtlCol="0" anchor="ctr">
            <a:noAutofit/>
          </a:bodyPr>
          <a:lstStyle/>
          <a:p>
            <a:r>
              <a:rPr lang="it-IT"/>
              <a:t>Fare clic per modificare lo stile del titolo dello schema</a:t>
            </a:r>
          </a:p>
        </p:txBody>
      </p:sp>
      <p:sp>
        <p:nvSpPr>
          <p:cNvPr id="5" name="Segnaposto testo 4">
            <a:extLst>
              <a:ext uri="{FF2B5EF4-FFF2-40B4-BE49-F238E27FC236}">
                <a16:creationId xmlns:a16="http://schemas.microsoft.com/office/drawing/2014/main" id="{223B1B66-22C7-4D9B-9009-91B4BE9340C3}"/>
              </a:ext>
            </a:extLst>
          </p:cNvPr>
          <p:cNvSpPr>
            <a:spLocks noGrp="1"/>
          </p:cNvSpPr>
          <p:nvPr>
            <p:ph type="body" idx="1"/>
          </p:nvPr>
        </p:nvSpPr>
        <p:spPr>
          <a:xfrm>
            <a:off x="396461" y="1063487"/>
            <a:ext cx="11384124" cy="4927691"/>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p:txBody>
      </p:sp>
      <p:pic>
        <p:nvPicPr>
          <p:cNvPr id="2" name="Immagine 1" descr="Immagine che contiene testo, Carattere, logo, Elementi grafici&#10;&#10;Descrizione generata automaticamente">
            <a:extLst>
              <a:ext uri="{FF2B5EF4-FFF2-40B4-BE49-F238E27FC236}">
                <a16:creationId xmlns:a16="http://schemas.microsoft.com/office/drawing/2014/main" id="{C17C6E4B-14F9-4F84-E524-708093441ADB}"/>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0" y="6308752"/>
            <a:ext cx="1620000" cy="526733"/>
          </a:xfrm>
          <a:prstGeom prst="rect">
            <a:avLst/>
          </a:prstGeom>
        </p:spPr>
      </p:pic>
    </p:spTree>
    <p:extLst>
      <p:ext uri="{BB962C8B-B14F-4D97-AF65-F5344CB8AC3E}">
        <p14:creationId xmlns:p14="http://schemas.microsoft.com/office/powerpoint/2010/main" val="3240937230"/>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Lst>
  <p:hf hdr="0" ftr="0" dt="0"/>
  <p:txStyles>
    <p:title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p:titleStyle>
    <p:bodyStyle>
      <a:lvl1pPr marL="268291" indent="-268291" algn="l" rtl="0" eaLnBrk="0" fontAlgn="base" hangingPunct="0">
        <a:spcBef>
          <a:spcPct val="50000"/>
        </a:spcBef>
        <a:spcAft>
          <a:spcPct val="0"/>
        </a:spcAft>
        <a:buClr>
          <a:srgbClr val="FF6600"/>
        </a:buClr>
        <a:buSzPct val="105000"/>
        <a:buFont typeface="Arial" panose="020B0604020202020204" pitchFamily="34" charset="0"/>
        <a:buChar char="•"/>
        <a:defRPr sz="1900">
          <a:solidFill>
            <a:srgbClr val="001E60"/>
          </a:solidFill>
          <a:latin typeface="+mj-lt"/>
          <a:ea typeface="Source Sans Pro SemiBold" panose="020B0603030403020204" pitchFamily="34" charset="0"/>
          <a:cs typeface="+mn-cs"/>
        </a:defRPr>
      </a:lvl1pPr>
      <a:lvl2pPr marL="625483" indent="-280992" algn="l" rtl="0" eaLnBrk="0" fontAlgn="base" hangingPunct="0">
        <a:spcBef>
          <a:spcPct val="50000"/>
        </a:spcBef>
        <a:spcAft>
          <a:spcPct val="0"/>
        </a:spcAft>
        <a:buClr>
          <a:srgbClr val="FF6600"/>
        </a:buClr>
        <a:buSzPct val="70000"/>
        <a:buFont typeface="Courier New" panose="02070309020205020404" pitchFamily="49" charset="0"/>
        <a:buChar char="o"/>
        <a:defRPr sz="1900">
          <a:solidFill>
            <a:srgbClr val="001E60"/>
          </a:solidFill>
          <a:latin typeface="+mj-lt"/>
          <a:ea typeface="Source Sans Pro SemiBold" panose="020B0603030403020204" pitchFamily="34" charset="0"/>
        </a:defRPr>
      </a:lvl2pPr>
      <a:lvl3pPr marL="984263" indent="-355604" algn="l" rtl="0" eaLnBrk="0" fontAlgn="base" hangingPunct="0">
        <a:spcBef>
          <a:spcPct val="50000"/>
        </a:spcBef>
        <a:spcAft>
          <a:spcPct val="0"/>
        </a:spcAft>
        <a:buClr>
          <a:srgbClr val="F47B20"/>
        </a:buClr>
        <a:buSzPct val="80000"/>
        <a:buFont typeface="Source Sans Pro" panose="020B0503030403020204" pitchFamily="34" charset="0"/>
        <a:buChar char="―"/>
        <a:defRPr sz="1900">
          <a:solidFill>
            <a:srgbClr val="001E60"/>
          </a:solidFill>
          <a:latin typeface="+mj-lt"/>
          <a:ea typeface="Source Sans Pro SemiBold" panose="020B0603030403020204" pitchFamily="34" charset="0"/>
        </a:defRPr>
      </a:lvl3pPr>
      <a:lvl4pPr marL="1874861" indent="-349254" algn="l" rtl="0" eaLnBrk="0" fontAlgn="base" hangingPunct="0">
        <a:spcBef>
          <a:spcPct val="50000"/>
        </a:spcBef>
        <a:spcAft>
          <a:spcPct val="0"/>
        </a:spcAft>
        <a:buClr>
          <a:srgbClr val="16165D"/>
        </a:buClr>
        <a:buSzPct val="105000"/>
        <a:buFont typeface="Arial" panose="020B0604020202020204" pitchFamily="34" charset="0"/>
        <a:buChar char="•"/>
        <a:defRPr sz="1900">
          <a:solidFill>
            <a:srgbClr val="003A80"/>
          </a:solidFill>
          <a:latin typeface="Source Sans Pro SemiBold" panose="020B0603030403020204" pitchFamily="34" charset="0"/>
          <a:ea typeface="Source Sans Pro SemiBold" panose="020B0603030403020204" pitchFamily="34" charset="0"/>
        </a:defRPr>
      </a:lvl4pPr>
      <a:lvl5pPr marL="2543207" indent="-339729" algn="l" rtl="0" eaLnBrk="0" fontAlgn="base" hangingPunct="0">
        <a:spcBef>
          <a:spcPct val="20000"/>
        </a:spcBef>
        <a:spcAft>
          <a:spcPct val="0"/>
        </a:spcAft>
        <a:buClr>
          <a:srgbClr val="16165D"/>
        </a:buClr>
        <a:buSzPct val="120000"/>
        <a:buFont typeface="Arial" panose="020B0604020202020204" pitchFamily="34" charset="0"/>
        <a:buChar char="•"/>
        <a:defRPr sz="2400">
          <a:solidFill>
            <a:srgbClr val="003A80"/>
          </a:solidFill>
          <a:latin typeface="Source Sans Pro SemiBold" panose="020B0603030403020204" pitchFamily="34" charset="0"/>
          <a:ea typeface="Source Sans Pro SemiBold" panose="020B0603030403020204" pitchFamily="34" charset="0"/>
        </a:defRPr>
      </a:lvl5pPr>
      <a:lvl6pPr marL="3095009" indent="-281365" algn="l" rtl="0" fontAlgn="base">
        <a:spcBef>
          <a:spcPct val="20000"/>
        </a:spcBef>
        <a:spcAft>
          <a:spcPct val="0"/>
        </a:spcAft>
        <a:buChar char="»"/>
        <a:defRPr sz="2462">
          <a:solidFill>
            <a:schemeClr val="tx1"/>
          </a:solidFill>
          <a:latin typeface="Times New Roman" pitchFamily="18" charset="0"/>
        </a:defRPr>
      </a:lvl6pPr>
      <a:lvl7pPr marL="3657736" indent="-281365" algn="l" rtl="0" fontAlgn="base">
        <a:spcBef>
          <a:spcPct val="20000"/>
        </a:spcBef>
        <a:spcAft>
          <a:spcPct val="0"/>
        </a:spcAft>
        <a:buChar char="»"/>
        <a:defRPr sz="2462">
          <a:solidFill>
            <a:schemeClr val="tx1"/>
          </a:solidFill>
          <a:latin typeface="Times New Roman" pitchFamily="18" charset="0"/>
        </a:defRPr>
      </a:lvl7pPr>
      <a:lvl8pPr marL="4220465" indent="-281365" algn="l" rtl="0" fontAlgn="base">
        <a:spcBef>
          <a:spcPct val="20000"/>
        </a:spcBef>
        <a:spcAft>
          <a:spcPct val="0"/>
        </a:spcAft>
        <a:buChar char="»"/>
        <a:defRPr sz="2462">
          <a:solidFill>
            <a:schemeClr val="tx1"/>
          </a:solidFill>
          <a:latin typeface="Times New Roman" pitchFamily="18" charset="0"/>
        </a:defRPr>
      </a:lvl8pPr>
      <a:lvl9pPr marL="4783194" indent="-281365" algn="l" rtl="0" fontAlgn="base">
        <a:spcBef>
          <a:spcPct val="20000"/>
        </a:spcBef>
        <a:spcAft>
          <a:spcPct val="0"/>
        </a:spcAft>
        <a:buChar char="»"/>
        <a:defRPr sz="2462">
          <a:solidFill>
            <a:schemeClr val="tx1"/>
          </a:solidFill>
          <a:latin typeface="Times New Roman" pitchFamily="18" charset="0"/>
        </a:defRPr>
      </a:lvl9pPr>
    </p:bodyStyle>
    <p:otherStyle>
      <a:defPPr>
        <a:defRPr lang="it-IT"/>
      </a:defPPr>
      <a:lvl1pPr marL="0" algn="l" defTabSz="1125458" rtl="0" eaLnBrk="1" latinLnBrk="0" hangingPunct="1">
        <a:defRPr sz="2215" kern="1200">
          <a:solidFill>
            <a:schemeClr val="tx1"/>
          </a:solidFill>
          <a:latin typeface="+mn-lt"/>
          <a:ea typeface="+mn-ea"/>
          <a:cs typeface="+mn-cs"/>
        </a:defRPr>
      </a:lvl1pPr>
      <a:lvl2pPr marL="562729" algn="l" defTabSz="1125458" rtl="0" eaLnBrk="1" latinLnBrk="0" hangingPunct="1">
        <a:defRPr sz="2215" kern="1200">
          <a:solidFill>
            <a:schemeClr val="tx1"/>
          </a:solidFill>
          <a:latin typeface="+mn-lt"/>
          <a:ea typeface="+mn-ea"/>
          <a:cs typeface="+mn-cs"/>
        </a:defRPr>
      </a:lvl2pPr>
      <a:lvl3pPr marL="1125458" algn="l" defTabSz="1125458" rtl="0" eaLnBrk="1" latinLnBrk="0" hangingPunct="1">
        <a:defRPr sz="2215" kern="1200">
          <a:solidFill>
            <a:schemeClr val="tx1"/>
          </a:solidFill>
          <a:latin typeface="+mn-lt"/>
          <a:ea typeface="+mn-ea"/>
          <a:cs typeface="+mn-cs"/>
        </a:defRPr>
      </a:lvl3pPr>
      <a:lvl4pPr marL="1688186" algn="l" defTabSz="1125458" rtl="0" eaLnBrk="1" latinLnBrk="0" hangingPunct="1">
        <a:defRPr sz="2215" kern="1200">
          <a:solidFill>
            <a:schemeClr val="tx1"/>
          </a:solidFill>
          <a:latin typeface="+mn-lt"/>
          <a:ea typeface="+mn-ea"/>
          <a:cs typeface="+mn-cs"/>
        </a:defRPr>
      </a:lvl4pPr>
      <a:lvl5pPr marL="2250915" algn="l" defTabSz="1125458" rtl="0" eaLnBrk="1" latinLnBrk="0" hangingPunct="1">
        <a:defRPr sz="2215" kern="1200">
          <a:solidFill>
            <a:schemeClr val="tx1"/>
          </a:solidFill>
          <a:latin typeface="+mn-lt"/>
          <a:ea typeface="+mn-ea"/>
          <a:cs typeface="+mn-cs"/>
        </a:defRPr>
      </a:lvl5pPr>
      <a:lvl6pPr marL="2813644" algn="l" defTabSz="1125458" rtl="0" eaLnBrk="1" latinLnBrk="0" hangingPunct="1">
        <a:defRPr sz="2215" kern="1200">
          <a:solidFill>
            <a:schemeClr val="tx1"/>
          </a:solidFill>
          <a:latin typeface="+mn-lt"/>
          <a:ea typeface="+mn-ea"/>
          <a:cs typeface="+mn-cs"/>
        </a:defRPr>
      </a:lvl6pPr>
      <a:lvl7pPr marL="3376373" algn="l" defTabSz="1125458" rtl="0" eaLnBrk="1" latinLnBrk="0" hangingPunct="1">
        <a:defRPr sz="2215" kern="1200">
          <a:solidFill>
            <a:schemeClr val="tx1"/>
          </a:solidFill>
          <a:latin typeface="+mn-lt"/>
          <a:ea typeface="+mn-ea"/>
          <a:cs typeface="+mn-cs"/>
        </a:defRPr>
      </a:lvl7pPr>
      <a:lvl8pPr marL="3939102" algn="l" defTabSz="1125458" rtl="0" eaLnBrk="1" latinLnBrk="0" hangingPunct="1">
        <a:defRPr sz="2215" kern="1200">
          <a:solidFill>
            <a:schemeClr val="tx1"/>
          </a:solidFill>
          <a:latin typeface="+mn-lt"/>
          <a:ea typeface="+mn-ea"/>
          <a:cs typeface="+mn-cs"/>
        </a:defRPr>
      </a:lvl8pPr>
      <a:lvl9pPr marL="4501830" algn="l" defTabSz="1125458" rtl="0" eaLnBrk="1" latinLnBrk="0" hangingPunct="1">
        <a:defRPr sz="221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C5F2D8A8-0099-4A9D-8086-F133407E0391}"/>
              </a:ext>
            </a:extLst>
          </p:cNvPr>
          <p:cNvGraphicFramePr>
            <a:graphicFrameLocks noChangeAspect="1"/>
          </p:cNvGraphicFramePr>
          <p:nvPr userDrawn="1">
            <p:custDataLst>
              <p:tags r:id="rId16"/>
            </p:custDataLst>
            <p:extLst>
              <p:ext uri="{D42A27DB-BD31-4B8C-83A1-F6EECF244321}">
                <p14:modId xmlns:p14="http://schemas.microsoft.com/office/powerpoint/2010/main" val="419518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7" imgW="395" imgH="396" progId="TCLayout.ActiveDocument.1">
                  <p:embed/>
                </p:oleObj>
              </mc:Choice>
              <mc:Fallback>
                <p:oleObj name="Diapositiva think-cell" r:id="rId17" imgW="395" imgH="396" progId="TCLayout.ActiveDocument.1">
                  <p:embed/>
                  <p:pic>
                    <p:nvPicPr>
                      <p:cNvPr id="2" name="Oggetto 1" hidden="1">
                        <a:extLst>
                          <a:ext uri="{FF2B5EF4-FFF2-40B4-BE49-F238E27FC236}">
                            <a16:creationId xmlns:a16="http://schemas.microsoft.com/office/drawing/2014/main" id="{C5F2D8A8-0099-4A9D-8086-F133407E039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7" name="Immagine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9"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0" i="0" baseline="0" smtClean="0">
                <a:solidFill>
                  <a:srgbClr val="F47B20"/>
                </a:solidFill>
                <a:latin typeface="Source Sans Pro Semibold"/>
                <a:cs typeface="Source Sans Pro Semibold"/>
              </a:rPr>
              <a:pPr algn="ctr" eaLnBrk="1" hangingPunct="1"/>
              <a:t>‹N›</a:t>
            </a:fld>
            <a:endParaRPr lang="it-IT" sz="1001" b="0" i="0" baseline="0">
              <a:solidFill>
                <a:srgbClr val="F47B20"/>
              </a:solidFill>
              <a:latin typeface="Source Sans Pro Semibold"/>
              <a:cs typeface="Source Sans Pro Semibold"/>
            </a:endParaRPr>
          </a:p>
        </p:txBody>
      </p:sp>
      <p:cxnSp>
        <p:nvCxnSpPr>
          <p:cNvPr id="8" name="Connettore diritto 7">
            <a:extLst>
              <a:ext uri="{FF2B5EF4-FFF2-40B4-BE49-F238E27FC236}">
                <a16:creationId xmlns:a16="http://schemas.microsoft.com/office/drawing/2014/main" id="{B914DDBC-A419-41FA-A158-73DD87EDB6E8}"/>
              </a:ext>
            </a:extLst>
          </p:cNvPr>
          <p:cNvCxnSpPr>
            <a:cxnSpLocks/>
          </p:cNvCxnSpPr>
          <p:nvPr userDrawn="1"/>
        </p:nvCxnSpPr>
        <p:spPr>
          <a:xfrm>
            <a:off x="399888" y="918324"/>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pic>
        <p:nvPicPr>
          <p:cNvPr id="4" name="Immagine 3" descr="Immagine che contiene testo, Carattere, logo, Elementi grafici&#10;&#10;Descrizione generata automaticamente">
            <a:extLst>
              <a:ext uri="{FF2B5EF4-FFF2-40B4-BE49-F238E27FC236}">
                <a16:creationId xmlns:a16="http://schemas.microsoft.com/office/drawing/2014/main" id="{6E992FBD-7476-AAC6-077D-4E9AEFB2C6F6}"/>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6308752"/>
            <a:ext cx="1620000" cy="526733"/>
          </a:xfrm>
          <a:prstGeom prst="rect">
            <a:avLst/>
          </a:prstGeom>
        </p:spPr>
      </p:pic>
    </p:spTree>
    <p:extLst>
      <p:ext uri="{BB962C8B-B14F-4D97-AF65-F5344CB8AC3E}">
        <p14:creationId xmlns:p14="http://schemas.microsoft.com/office/powerpoint/2010/main" val="2584381504"/>
      </p:ext>
    </p:extLst>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 id="2147484079" r:id="rId10"/>
    <p:sldLayoutId id="2147484080" r:id="rId11"/>
    <p:sldLayoutId id="2147484082" r:id="rId12"/>
    <p:sldLayoutId id="2147484084" r:id="rId13"/>
    <p:sldLayoutId id="2147484091" r:id="rId14"/>
  </p:sldLayoutIdLst>
  <p:txStyles>
    <p:titleStyle>
      <a:lvl1pPr algn="l" defTabSz="91441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4" indent="-228604" algn="l" defTabSz="914411"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09" indent="-228604" algn="l" defTabSz="91441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5" indent="-228604" algn="l" defTabSz="91441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21"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27"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it-IT"/>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51E3A767-D8D3-4A34-BCBD-96D6C494F544}"/>
              </a:ext>
            </a:extLst>
          </p:cNvPr>
          <p:cNvGraphicFramePr>
            <a:graphicFrameLocks noChangeAspect="1"/>
          </p:cNvGraphicFramePr>
          <p:nvPr userDrawn="1">
            <p:custDataLst>
              <p:tags r:id="rId22"/>
            </p:custDataLst>
            <p:extLst>
              <p:ext uri="{D42A27DB-BD31-4B8C-83A1-F6EECF244321}">
                <p14:modId xmlns:p14="http://schemas.microsoft.com/office/powerpoint/2010/main" val="1097061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23" imgW="473" imgH="476" progId="TCLayout.ActiveDocument.1">
                  <p:embed/>
                </p:oleObj>
              </mc:Choice>
              <mc:Fallback>
                <p:oleObj name="Diapositiva think-cell" r:id="rId23" imgW="473" imgH="476" progId="TCLayout.ActiveDocument.1">
                  <p:embed/>
                  <p:pic>
                    <p:nvPicPr>
                      <p:cNvPr id="3" name="Oggetto 2" hidden="1">
                        <a:extLst>
                          <a:ext uri="{FF2B5EF4-FFF2-40B4-BE49-F238E27FC236}">
                            <a16:creationId xmlns:a16="http://schemas.microsoft.com/office/drawing/2014/main" id="{51E3A767-D8D3-4A34-BCBD-96D6C494F544}"/>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33" name="Rettangolo 3">
            <a:extLst>
              <a:ext uri="{FF2B5EF4-FFF2-40B4-BE49-F238E27FC236}">
                <a16:creationId xmlns:a16="http://schemas.microsoft.com/office/drawing/2014/main" id="{E3EA3DAB-BB25-4C0C-B7A9-7DAEF0B13306}"/>
              </a:ext>
            </a:extLst>
          </p:cNvPr>
          <p:cNvSpPr>
            <a:spLocks noChangeArrowheads="1"/>
          </p:cNvSpPr>
          <p:nvPr userDrawn="1"/>
        </p:nvSpPr>
        <p:spPr bwMode="auto">
          <a:xfrm>
            <a:off x="11690350" y="65089"/>
            <a:ext cx="323851" cy="504825"/>
          </a:xfrm>
          <a:prstGeom prst="rect">
            <a:avLst/>
          </a:prstGeom>
          <a:solidFill>
            <a:schemeClr val="bg1"/>
          </a:solidFill>
          <a:ln>
            <a:noFill/>
          </a:ln>
        </p:spPr>
        <p:txBody>
          <a:bodyPr/>
          <a:lstStyle>
            <a:lvl1pPr>
              <a:defRPr sz="1600">
                <a:solidFill>
                  <a:srgbClr val="020060"/>
                </a:solidFill>
                <a:latin typeface="Tahoma" panose="020B0604030504040204" pitchFamily="34" charset="0"/>
                <a:ea typeface="MS PGothic" panose="020B0600070205080204" pitchFamily="34" charset="-128"/>
              </a:defRPr>
            </a:lvl1pPr>
            <a:lvl2pPr marL="742950" indent="-285750">
              <a:defRPr sz="1600">
                <a:solidFill>
                  <a:srgbClr val="020060"/>
                </a:solidFill>
                <a:latin typeface="Tahoma" panose="020B0604030504040204" pitchFamily="34" charset="0"/>
                <a:ea typeface="MS PGothic" panose="020B0600070205080204" pitchFamily="34" charset="-128"/>
              </a:defRPr>
            </a:lvl2pPr>
            <a:lvl3pPr marL="1143000" indent="-228600">
              <a:defRPr sz="1600">
                <a:solidFill>
                  <a:srgbClr val="020060"/>
                </a:solidFill>
                <a:latin typeface="Tahoma" panose="020B0604030504040204" pitchFamily="34" charset="0"/>
                <a:ea typeface="MS PGothic" panose="020B0600070205080204" pitchFamily="34" charset="-128"/>
              </a:defRPr>
            </a:lvl3pPr>
            <a:lvl4pPr marL="1600200" indent="-228600">
              <a:defRPr sz="1600">
                <a:solidFill>
                  <a:srgbClr val="020060"/>
                </a:solidFill>
                <a:latin typeface="Tahoma" panose="020B0604030504040204" pitchFamily="34" charset="0"/>
                <a:ea typeface="MS PGothic" panose="020B0600070205080204" pitchFamily="34" charset="-128"/>
              </a:defRPr>
            </a:lvl4pPr>
            <a:lvl5pPr marL="2057400" indent="-228600">
              <a:defRPr sz="1600">
                <a:solidFill>
                  <a:srgbClr val="020060"/>
                </a:solidFill>
                <a:latin typeface="Tahom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1600">
                <a:solidFill>
                  <a:srgbClr val="020060"/>
                </a:solidFill>
                <a:latin typeface="Tahoma" panose="020B0604030504040204" pitchFamily="34" charset="0"/>
                <a:ea typeface="MS PGothic" panose="020B0600070205080204" pitchFamily="34" charset="-128"/>
              </a:defRPr>
            </a:lvl9pPr>
          </a:lstStyle>
          <a:p>
            <a:pPr eaLnBrk="1" hangingPunct="1">
              <a:defRPr/>
            </a:pPr>
            <a:endParaRPr lang="it-IT" altLang="it-IT" sz="1600"/>
          </a:p>
        </p:txBody>
      </p:sp>
      <p:cxnSp>
        <p:nvCxnSpPr>
          <p:cNvPr id="13" name="Connettore diritto 12">
            <a:extLst>
              <a:ext uri="{FF2B5EF4-FFF2-40B4-BE49-F238E27FC236}">
                <a16:creationId xmlns:a16="http://schemas.microsoft.com/office/drawing/2014/main" id="{C3CCA961-8D61-45BA-B27F-FB2DFAF75489}"/>
              </a:ext>
            </a:extLst>
          </p:cNvPr>
          <p:cNvCxnSpPr>
            <a:cxnSpLocks/>
          </p:cNvCxnSpPr>
          <p:nvPr userDrawn="1"/>
        </p:nvCxnSpPr>
        <p:spPr>
          <a:xfrm>
            <a:off x="399888" y="918324"/>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pic>
        <p:nvPicPr>
          <p:cNvPr id="14" name="Immagine 13">
            <a:extLst>
              <a:ext uri="{FF2B5EF4-FFF2-40B4-BE49-F238E27FC236}">
                <a16:creationId xmlns:a16="http://schemas.microsoft.com/office/drawing/2014/main" id="{168F8B35-366F-48D5-AE67-32103A49E414}"/>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15" name="CasellaDiTesto 2">
            <a:extLst>
              <a:ext uri="{FF2B5EF4-FFF2-40B4-BE49-F238E27FC236}">
                <a16:creationId xmlns:a16="http://schemas.microsoft.com/office/drawing/2014/main" id="{49832D1E-87FA-482C-A166-12681ADB4B36}"/>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0" i="0" baseline="0" smtClean="0">
                <a:solidFill>
                  <a:srgbClr val="F47B20"/>
                </a:solidFill>
                <a:latin typeface="Source Sans Pro Semibold"/>
                <a:cs typeface="Source Sans Pro Semibold"/>
              </a:rPr>
              <a:pPr algn="ctr" eaLnBrk="1" hangingPunct="1"/>
              <a:t>‹N›</a:t>
            </a:fld>
            <a:endParaRPr lang="it-IT" sz="1001" b="0" i="0" baseline="0">
              <a:solidFill>
                <a:srgbClr val="F47B20"/>
              </a:solidFill>
              <a:latin typeface="Source Sans Pro Semibold"/>
              <a:cs typeface="Source Sans Pro Semibold"/>
            </a:endParaRPr>
          </a:p>
        </p:txBody>
      </p:sp>
      <p:sp>
        <p:nvSpPr>
          <p:cNvPr id="4" name="Segnaposto titolo 3">
            <a:extLst>
              <a:ext uri="{FF2B5EF4-FFF2-40B4-BE49-F238E27FC236}">
                <a16:creationId xmlns:a16="http://schemas.microsoft.com/office/drawing/2014/main" id="{51AF4284-6C34-43A5-A2D3-3714A380BFE0}"/>
              </a:ext>
            </a:extLst>
          </p:cNvPr>
          <p:cNvSpPr>
            <a:spLocks noGrp="1"/>
          </p:cNvSpPr>
          <p:nvPr>
            <p:ph type="title"/>
          </p:nvPr>
        </p:nvSpPr>
        <p:spPr>
          <a:xfrm>
            <a:off x="403315" y="365126"/>
            <a:ext cx="10932268" cy="553199"/>
          </a:xfrm>
          <a:prstGeom prst="rect">
            <a:avLst/>
          </a:prstGeom>
        </p:spPr>
        <p:txBody>
          <a:bodyPr vert="horz" lIns="91440" tIns="45720" rIns="91440" bIns="45720" rtlCol="0" anchor="ctr">
            <a:noAutofit/>
          </a:bodyPr>
          <a:lstStyle/>
          <a:p>
            <a:r>
              <a:rPr lang="it-IT"/>
              <a:t>Fare clic per modificare lo stile del titolo dello schema</a:t>
            </a:r>
          </a:p>
        </p:txBody>
      </p:sp>
      <p:sp>
        <p:nvSpPr>
          <p:cNvPr id="5" name="Segnaposto testo 4">
            <a:extLst>
              <a:ext uri="{FF2B5EF4-FFF2-40B4-BE49-F238E27FC236}">
                <a16:creationId xmlns:a16="http://schemas.microsoft.com/office/drawing/2014/main" id="{223B1B66-22C7-4D9B-9009-91B4BE9340C3}"/>
              </a:ext>
            </a:extLst>
          </p:cNvPr>
          <p:cNvSpPr>
            <a:spLocks noGrp="1"/>
          </p:cNvSpPr>
          <p:nvPr>
            <p:ph type="body" idx="1"/>
          </p:nvPr>
        </p:nvSpPr>
        <p:spPr>
          <a:xfrm>
            <a:off x="399889" y="1311248"/>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p:txBody>
      </p:sp>
      <p:pic>
        <p:nvPicPr>
          <p:cNvPr id="6" name="Immagine 5" descr="Immagine che contiene testo, Carattere, logo, Elementi grafici&#10;&#10;Descrizione generata automaticamente">
            <a:extLst>
              <a:ext uri="{FF2B5EF4-FFF2-40B4-BE49-F238E27FC236}">
                <a16:creationId xmlns:a16="http://schemas.microsoft.com/office/drawing/2014/main" id="{78A22B2E-110C-6630-3603-21584F9CDACB}"/>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0" y="6308752"/>
            <a:ext cx="1620000" cy="526733"/>
          </a:xfrm>
          <a:prstGeom prst="rect">
            <a:avLst/>
          </a:prstGeom>
        </p:spPr>
      </p:pic>
    </p:spTree>
    <p:extLst>
      <p:ext uri="{BB962C8B-B14F-4D97-AF65-F5344CB8AC3E}">
        <p14:creationId xmlns:p14="http://schemas.microsoft.com/office/powerpoint/2010/main" val="1934833029"/>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5" r:id="rId11"/>
    <p:sldLayoutId id="2147484106" r:id="rId12"/>
    <p:sldLayoutId id="2147484107" r:id="rId13"/>
    <p:sldLayoutId id="2147484108" r:id="rId14"/>
    <p:sldLayoutId id="2147484109" r:id="rId15"/>
    <p:sldLayoutId id="2147484110" r:id="rId16"/>
    <p:sldLayoutId id="2147484111" r:id="rId17"/>
    <p:sldLayoutId id="2147484112" r:id="rId18"/>
    <p:sldLayoutId id="2147484113" r:id="rId19"/>
    <p:sldLayoutId id="2147484114" r:id="rId20"/>
  </p:sldLayoutIdLst>
  <p:hf sldNum="0" hdr="0" ftr="0" dt="0"/>
  <p:txStyles>
    <p:title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9" algn="l" rtl="0" fontAlgn="base">
        <a:spcBef>
          <a:spcPct val="0"/>
        </a:spcBef>
        <a:spcAft>
          <a:spcPct val="0"/>
        </a:spcAft>
        <a:defRPr sz="2462">
          <a:solidFill>
            <a:srgbClr val="020060"/>
          </a:solidFill>
          <a:latin typeface="Tahoma" pitchFamily="34" charset="0"/>
        </a:defRPr>
      </a:lvl6pPr>
      <a:lvl7pPr marL="1125458" algn="l" rtl="0" fontAlgn="base">
        <a:spcBef>
          <a:spcPct val="0"/>
        </a:spcBef>
        <a:spcAft>
          <a:spcPct val="0"/>
        </a:spcAft>
        <a:defRPr sz="2462">
          <a:solidFill>
            <a:srgbClr val="020060"/>
          </a:solidFill>
          <a:latin typeface="Tahoma" pitchFamily="34" charset="0"/>
        </a:defRPr>
      </a:lvl7pPr>
      <a:lvl8pPr marL="1688186" algn="l" rtl="0" fontAlgn="base">
        <a:spcBef>
          <a:spcPct val="0"/>
        </a:spcBef>
        <a:spcAft>
          <a:spcPct val="0"/>
        </a:spcAft>
        <a:defRPr sz="2462">
          <a:solidFill>
            <a:srgbClr val="020060"/>
          </a:solidFill>
          <a:latin typeface="Tahoma" pitchFamily="34" charset="0"/>
        </a:defRPr>
      </a:lvl8pPr>
      <a:lvl9pPr marL="2250915" algn="l" rtl="0" fontAlgn="base">
        <a:spcBef>
          <a:spcPct val="0"/>
        </a:spcBef>
        <a:spcAft>
          <a:spcPct val="0"/>
        </a:spcAft>
        <a:defRPr sz="2462">
          <a:solidFill>
            <a:srgbClr val="020060"/>
          </a:solidFill>
          <a:latin typeface="Tahoma" pitchFamily="34" charset="0"/>
        </a:defRPr>
      </a:lvl9pPr>
    </p:titleStyle>
    <p:bodyStyle>
      <a:lvl1pPr marL="355604" indent="-355604" algn="l" rtl="0" eaLnBrk="0" fontAlgn="base" hangingPunct="0">
        <a:spcBef>
          <a:spcPct val="50000"/>
        </a:spcBef>
        <a:spcAft>
          <a:spcPct val="0"/>
        </a:spcAft>
        <a:buClr>
          <a:srgbClr val="FF6600"/>
        </a:buClr>
        <a:buSzPct val="105000"/>
        <a:buFont typeface="Arial" panose="020B0604020202020204" pitchFamily="34" charset="0"/>
        <a:buChar char="•"/>
        <a:defRPr sz="1900">
          <a:solidFill>
            <a:srgbClr val="003A80"/>
          </a:solidFill>
          <a:latin typeface="Source Sans Pro SemiBold" panose="020B0603030403020204" pitchFamily="34" charset="0"/>
          <a:ea typeface="Source Sans Pro SemiBold" panose="020B0603030403020204" pitchFamily="34" charset="0"/>
          <a:cs typeface="+mn-cs"/>
        </a:defRPr>
      </a:lvl1pPr>
      <a:lvl2pPr marL="723909" indent="-379418" algn="l" rtl="0" eaLnBrk="0" fontAlgn="base" hangingPunct="0">
        <a:spcBef>
          <a:spcPct val="50000"/>
        </a:spcBef>
        <a:spcAft>
          <a:spcPct val="0"/>
        </a:spcAft>
        <a:buClr>
          <a:srgbClr val="FF6600"/>
        </a:buClr>
        <a:buSzPct val="70000"/>
        <a:buFont typeface="Courier New" panose="02070309020205020404" pitchFamily="49" charset="0"/>
        <a:buChar char="o"/>
        <a:defRPr sz="1900">
          <a:solidFill>
            <a:srgbClr val="003A80"/>
          </a:solidFill>
          <a:latin typeface="Source Sans Pro SemiBold" panose="020B0603030403020204" pitchFamily="34" charset="0"/>
          <a:ea typeface="Source Sans Pro SemiBold" panose="020B0603030403020204" pitchFamily="34" charset="0"/>
        </a:defRPr>
      </a:lvl2pPr>
      <a:lvl3pPr marL="1079514" indent="-355604" algn="l" rtl="0" eaLnBrk="0" fontAlgn="base" hangingPunct="0">
        <a:spcBef>
          <a:spcPct val="50000"/>
        </a:spcBef>
        <a:spcAft>
          <a:spcPct val="0"/>
        </a:spcAft>
        <a:buClr>
          <a:srgbClr val="F47B20"/>
        </a:buClr>
        <a:buSzPct val="80000"/>
        <a:buFont typeface="Source Sans Pro SemiBold" panose="020B0603030403020204" pitchFamily="34" charset="0"/>
        <a:buChar char="-"/>
        <a:defRPr sz="1900">
          <a:solidFill>
            <a:srgbClr val="003A80"/>
          </a:solidFill>
          <a:latin typeface="Source Sans Pro SemiBold" panose="020B0603030403020204" pitchFamily="34" charset="0"/>
          <a:ea typeface="Source Sans Pro SemiBold" panose="020B0603030403020204" pitchFamily="34" charset="0"/>
        </a:defRPr>
      </a:lvl3pPr>
      <a:lvl4pPr marL="1874861" indent="-349254" algn="l" rtl="0" eaLnBrk="0" fontAlgn="base" hangingPunct="0">
        <a:spcBef>
          <a:spcPct val="50000"/>
        </a:spcBef>
        <a:spcAft>
          <a:spcPct val="0"/>
        </a:spcAft>
        <a:buClr>
          <a:srgbClr val="16165D"/>
        </a:buClr>
        <a:buSzPct val="105000"/>
        <a:buFont typeface="Arial" panose="020B0604020202020204" pitchFamily="34" charset="0"/>
        <a:buChar char="•"/>
        <a:defRPr sz="1900">
          <a:solidFill>
            <a:srgbClr val="003A80"/>
          </a:solidFill>
          <a:latin typeface="Source Sans Pro SemiBold" panose="020B0603030403020204" pitchFamily="34" charset="0"/>
          <a:ea typeface="Source Sans Pro SemiBold" panose="020B0603030403020204" pitchFamily="34" charset="0"/>
        </a:defRPr>
      </a:lvl4pPr>
      <a:lvl5pPr marL="2543207" indent="-339729" algn="l" rtl="0" eaLnBrk="0" fontAlgn="base" hangingPunct="0">
        <a:spcBef>
          <a:spcPct val="20000"/>
        </a:spcBef>
        <a:spcAft>
          <a:spcPct val="0"/>
        </a:spcAft>
        <a:buClr>
          <a:srgbClr val="16165D"/>
        </a:buClr>
        <a:buSzPct val="120000"/>
        <a:buFont typeface="Arial" panose="020B0604020202020204" pitchFamily="34" charset="0"/>
        <a:buChar char="•"/>
        <a:defRPr sz="2400">
          <a:solidFill>
            <a:srgbClr val="003A80"/>
          </a:solidFill>
          <a:latin typeface="Source Sans Pro SemiBold" panose="020B0603030403020204" pitchFamily="34" charset="0"/>
          <a:ea typeface="Source Sans Pro SemiBold" panose="020B0603030403020204" pitchFamily="34" charset="0"/>
        </a:defRPr>
      </a:lvl5pPr>
      <a:lvl6pPr marL="3095009" indent="-281365" algn="l" rtl="0" fontAlgn="base">
        <a:spcBef>
          <a:spcPct val="20000"/>
        </a:spcBef>
        <a:spcAft>
          <a:spcPct val="0"/>
        </a:spcAft>
        <a:buChar char="»"/>
        <a:defRPr sz="2462">
          <a:solidFill>
            <a:schemeClr val="tx1"/>
          </a:solidFill>
          <a:latin typeface="Times New Roman" pitchFamily="18" charset="0"/>
        </a:defRPr>
      </a:lvl6pPr>
      <a:lvl7pPr marL="3657736" indent="-281365" algn="l" rtl="0" fontAlgn="base">
        <a:spcBef>
          <a:spcPct val="20000"/>
        </a:spcBef>
        <a:spcAft>
          <a:spcPct val="0"/>
        </a:spcAft>
        <a:buChar char="»"/>
        <a:defRPr sz="2462">
          <a:solidFill>
            <a:schemeClr val="tx1"/>
          </a:solidFill>
          <a:latin typeface="Times New Roman" pitchFamily="18" charset="0"/>
        </a:defRPr>
      </a:lvl7pPr>
      <a:lvl8pPr marL="4220465" indent="-281365" algn="l" rtl="0" fontAlgn="base">
        <a:spcBef>
          <a:spcPct val="20000"/>
        </a:spcBef>
        <a:spcAft>
          <a:spcPct val="0"/>
        </a:spcAft>
        <a:buChar char="»"/>
        <a:defRPr sz="2462">
          <a:solidFill>
            <a:schemeClr val="tx1"/>
          </a:solidFill>
          <a:latin typeface="Times New Roman" pitchFamily="18" charset="0"/>
        </a:defRPr>
      </a:lvl8pPr>
      <a:lvl9pPr marL="4783194" indent="-281365" algn="l" rtl="0" fontAlgn="base">
        <a:spcBef>
          <a:spcPct val="20000"/>
        </a:spcBef>
        <a:spcAft>
          <a:spcPct val="0"/>
        </a:spcAft>
        <a:buChar char="»"/>
        <a:defRPr sz="2462">
          <a:solidFill>
            <a:schemeClr val="tx1"/>
          </a:solidFill>
          <a:latin typeface="Times New Roman" pitchFamily="18" charset="0"/>
        </a:defRPr>
      </a:lvl9pPr>
    </p:bodyStyle>
    <p:otherStyle>
      <a:defPPr>
        <a:defRPr lang="it-IT"/>
      </a:defPPr>
      <a:lvl1pPr marL="0" algn="l" defTabSz="1125458" rtl="0" eaLnBrk="1" latinLnBrk="0" hangingPunct="1">
        <a:defRPr sz="2215" kern="1200">
          <a:solidFill>
            <a:schemeClr val="tx1"/>
          </a:solidFill>
          <a:latin typeface="+mn-lt"/>
          <a:ea typeface="+mn-ea"/>
          <a:cs typeface="+mn-cs"/>
        </a:defRPr>
      </a:lvl1pPr>
      <a:lvl2pPr marL="562729" algn="l" defTabSz="1125458" rtl="0" eaLnBrk="1" latinLnBrk="0" hangingPunct="1">
        <a:defRPr sz="2215" kern="1200">
          <a:solidFill>
            <a:schemeClr val="tx1"/>
          </a:solidFill>
          <a:latin typeface="+mn-lt"/>
          <a:ea typeface="+mn-ea"/>
          <a:cs typeface="+mn-cs"/>
        </a:defRPr>
      </a:lvl2pPr>
      <a:lvl3pPr marL="1125458" algn="l" defTabSz="1125458" rtl="0" eaLnBrk="1" latinLnBrk="0" hangingPunct="1">
        <a:defRPr sz="2215" kern="1200">
          <a:solidFill>
            <a:schemeClr val="tx1"/>
          </a:solidFill>
          <a:latin typeface="+mn-lt"/>
          <a:ea typeface="+mn-ea"/>
          <a:cs typeface="+mn-cs"/>
        </a:defRPr>
      </a:lvl3pPr>
      <a:lvl4pPr marL="1688186" algn="l" defTabSz="1125458" rtl="0" eaLnBrk="1" latinLnBrk="0" hangingPunct="1">
        <a:defRPr sz="2215" kern="1200">
          <a:solidFill>
            <a:schemeClr val="tx1"/>
          </a:solidFill>
          <a:latin typeface="+mn-lt"/>
          <a:ea typeface="+mn-ea"/>
          <a:cs typeface="+mn-cs"/>
        </a:defRPr>
      </a:lvl4pPr>
      <a:lvl5pPr marL="2250915" algn="l" defTabSz="1125458" rtl="0" eaLnBrk="1" latinLnBrk="0" hangingPunct="1">
        <a:defRPr sz="2215" kern="1200">
          <a:solidFill>
            <a:schemeClr val="tx1"/>
          </a:solidFill>
          <a:latin typeface="+mn-lt"/>
          <a:ea typeface="+mn-ea"/>
          <a:cs typeface="+mn-cs"/>
        </a:defRPr>
      </a:lvl5pPr>
      <a:lvl6pPr marL="2813644" algn="l" defTabSz="1125458" rtl="0" eaLnBrk="1" latinLnBrk="0" hangingPunct="1">
        <a:defRPr sz="2215" kern="1200">
          <a:solidFill>
            <a:schemeClr val="tx1"/>
          </a:solidFill>
          <a:latin typeface="+mn-lt"/>
          <a:ea typeface="+mn-ea"/>
          <a:cs typeface="+mn-cs"/>
        </a:defRPr>
      </a:lvl6pPr>
      <a:lvl7pPr marL="3376373" algn="l" defTabSz="1125458" rtl="0" eaLnBrk="1" latinLnBrk="0" hangingPunct="1">
        <a:defRPr sz="2215" kern="1200">
          <a:solidFill>
            <a:schemeClr val="tx1"/>
          </a:solidFill>
          <a:latin typeface="+mn-lt"/>
          <a:ea typeface="+mn-ea"/>
          <a:cs typeface="+mn-cs"/>
        </a:defRPr>
      </a:lvl7pPr>
      <a:lvl8pPr marL="3939102" algn="l" defTabSz="1125458" rtl="0" eaLnBrk="1" latinLnBrk="0" hangingPunct="1">
        <a:defRPr sz="2215" kern="1200">
          <a:solidFill>
            <a:schemeClr val="tx1"/>
          </a:solidFill>
          <a:latin typeface="+mn-lt"/>
          <a:ea typeface="+mn-ea"/>
          <a:cs typeface="+mn-cs"/>
        </a:defRPr>
      </a:lvl8pPr>
      <a:lvl9pPr marL="4501830" algn="l" defTabSz="1125458" rtl="0" eaLnBrk="1" latinLnBrk="0" hangingPunct="1">
        <a:defRPr sz="221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C5F2D8A8-0099-4A9D-8086-F133407E0391}"/>
              </a:ext>
            </a:extLst>
          </p:cNvPr>
          <p:cNvGraphicFramePr>
            <a:graphicFrameLocks noChangeAspect="1"/>
          </p:cNvGraphicFramePr>
          <p:nvPr userDrawn="1">
            <p:custDataLst>
              <p:tags r:id="rId12"/>
            </p:custDataLst>
            <p:extLst>
              <p:ext uri="{D42A27DB-BD31-4B8C-83A1-F6EECF244321}">
                <p14:modId xmlns:p14="http://schemas.microsoft.com/office/powerpoint/2010/main" val="419518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3" imgW="395" imgH="396" progId="TCLayout.ActiveDocument.1">
                  <p:embed/>
                </p:oleObj>
              </mc:Choice>
              <mc:Fallback>
                <p:oleObj name="Diapositiva think-cell" r:id="rId13" imgW="395" imgH="396" progId="TCLayout.ActiveDocument.1">
                  <p:embed/>
                  <p:pic>
                    <p:nvPicPr>
                      <p:cNvPr id="2" name="Oggetto 1" hidden="1">
                        <a:extLst>
                          <a:ext uri="{FF2B5EF4-FFF2-40B4-BE49-F238E27FC236}">
                            <a16:creationId xmlns:a16="http://schemas.microsoft.com/office/drawing/2014/main" id="{C5F2D8A8-0099-4A9D-8086-F133407E039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7" name="Immagine 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1026951" y="6011061"/>
            <a:ext cx="839403" cy="839403"/>
          </a:xfrm>
          <a:prstGeom prst="rect">
            <a:avLst/>
          </a:prstGeom>
        </p:spPr>
      </p:pic>
      <p:sp>
        <p:nvSpPr>
          <p:cNvPr id="9"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5" y="6359789"/>
            <a:ext cx="419225" cy="254044"/>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1" b="0" i="0" baseline="0" smtClean="0">
                <a:solidFill>
                  <a:srgbClr val="F47B20"/>
                </a:solidFill>
                <a:latin typeface="Source Sans Pro Semibold"/>
                <a:cs typeface="Source Sans Pro Semibold"/>
              </a:rPr>
              <a:pPr algn="ctr" eaLnBrk="1" hangingPunct="1"/>
              <a:t>‹N›</a:t>
            </a:fld>
            <a:endParaRPr lang="it-IT" sz="1001" b="0" i="0" baseline="0">
              <a:solidFill>
                <a:srgbClr val="F47B20"/>
              </a:solidFill>
              <a:latin typeface="Source Sans Pro Semibold"/>
              <a:cs typeface="Source Sans Pro Semibold"/>
            </a:endParaRPr>
          </a:p>
        </p:txBody>
      </p:sp>
      <p:cxnSp>
        <p:nvCxnSpPr>
          <p:cNvPr id="8" name="Connettore diritto 7">
            <a:extLst>
              <a:ext uri="{FF2B5EF4-FFF2-40B4-BE49-F238E27FC236}">
                <a16:creationId xmlns:a16="http://schemas.microsoft.com/office/drawing/2014/main" id="{B914DDBC-A419-41FA-A158-73DD87EDB6E8}"/>
              </a:ext>
            </a:extLst>
          </p:cNvPr>
          <p:cNvCxnSpPr>
            <a:cxnSpLocks/>
          </p:cNvCxnSpPr>
          <p:nvPr userDrawn="1"/>
        </p:nvCxnSpPr>
        <p:spPr>
          <a:xfrm>
            <a:off x="399888" y="918324"/>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pic>
        <p:nvPicPr>
          <p:cNvPr id="4" name="Immagine 3" descr="Immagine che contiene testo, Carattere, logo, Elementi grafici&#10;&#10;Descrizione generata automaticamente">
            <a:extLst>
              <a:ext uri="{FF2B5EF4-FFF2-40B4-BE49-F238E27FC236}">
                <a16:creationId xmlns:a16="http://schemas.microsoft.com/office/drawing/2014/main" id="{655B1678-5C89-8532-5245-C4C97A7C2A57}"/>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0" y="6308752"/>
            <a:ext cx="1620000" cy="526733"/>
          </a:xfrm>
          <a:prstGeom prst="rect">
            <a:avLst/>
          </a:prstGeom>
        </p:spPr>
      </p:pic>
    </p:spTree>
    <p:extLst>
      <p:ext uri="{BB962C8B-B14F-4D97-AF65-F5344CB8AC3E}">
        <p14:creationId xmlns:p14="http://schemas.microsoft.com/office/powerpoint/2010/main" val="2031271794"/>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30" r:id="rId10"/>
  </p:sldLayoutIdLst>
  <p:txStyles>
    <p:titleStyle>
      <a:lvl1pPr algn="l" defTabSz="91441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4" indent="-228604" algn="l" defTabSz="914411"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09" indent="-228604" algn="l" defTabSz="91441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5" indent="-228604" algn="l" defTabSz="91441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21"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27"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it-IT"/>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ags" Target="../tags/tag25.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74.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25.png"/><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8.xml"/><Relationship Id="rId1" Type="http://schemas.openxmlformats.org/officeDocument/2006/relationships/slideLayout" Target="../slideLayouts/slideLayout100.xml"/><Relationship Id="rId5" Type="http://schemas.openxmlformats.org/officeDocument/2006/relationships/image" Target="../media/image28.jpeg"/><Relationship Id="rId4" Type="http://schemas.openxmlformats.org/officeDocument/2006/relationships/image" Target="../media/image27.jpe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FA52CA-7A6E-D92A-0493-E80BB07B5497}"/>
            </a:ext>
          </a:extLst>
        </p:cNvPr>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7B69B0A8-7A44-C54F-B479-121E1D767FB9}"/>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6" progId="TCLayout.ActiveDocument.1">
                  <p:embed/>
                </p:oleObj>
              </mc:Choice>
              <mc:Fallback>
                <p:oleObj name="Diapositiva think-cell" r:id="rId4" imgW="395" imgH="396" progId="TCLayout.ActiveDocument.1">
                  <p:embed/>
                  <p:pic>
                    <p:nvPicPr>
                      <p:cNvPr id="2" name="Oggetto 1" hidden="1">
                        <a:extLst>
                          <a:ext uri="{FF2B5EF4-FFF2-40B4-BE49-F238E27FC236}">
                            <a16:creationId xmlns:a16="http://schemas.microsoft.com/office/drawing/2014/main" id="{7B69B0A8-7A44-C54F-B479-121E1D767FB9}"/>
                          </a:ext>
                        </a:extLst>
                      </p:cNvPr>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23" name="CasellaDiTesto 22">
            <a:extLst>
              <a:ext uri="{FF2B5EF4-FFF2-40B4-BE49-F238E27FC236}">
                <a16:creationId xmlns:a16="http://schemas.microsoft.com/office/drawing/2014/main" id="{8EEF087B-6652-7476-03D8-F446F6F8081D}"/>
              </a:ext>
            </a:extLst>
          </p:cNvPr>
          <p:cNvSpPr txBox="1"/>
          <p:nvPr/>
        </p:nvSpPr>
        <p:spPr>
          <a:xfrm>
            <a:off x="5399122" y="500480"/>
            <a:ext cx="6337198" cy="276999"/>
          </a:xfrm>
          <a:prstGeom prst="rect">
            <a:avLst/>
          </a:prstGeom>
          <a:noFill/>
        </p:spPr>
        <p:txBody>
          <a:bodyPr wrap="square" rtlCol="0">
            <a:spAutoFit/>
          </a:bodyPr>
          <a:lstStyle/>
          <a:p>
            <a:pPr algn="r" defTabSz="914411">
              <a:defRPr/>
            </a:pPr>
            <a:r>
              <a:rPr lang="it-IT" sz="1200">
                <a:solidFill>
                  <a:srgbClr val="001E60"/>
                </a:solidFill>
                <a:latin typeface="Source Sans Pro"/>
                <a:ea typeface="Source Sans Pro SemiBold" panose="020B0603030403020204" pitchFamily="34" charset="0"/>
              </a:rPr>
              <a:t>THINK TANK  |  MANAGEMENT CONSULTING  |  LEADERS’ EDUCATION  |  SUMMIT</a:t>
            </a:r>
          </a:p>
        </p:txBody>
      </p:sp>
      <p:sp>
        <p:nvSpPr>
          <p:cNvPr id="5" name="CasellaDiTesto 4">
            <a:extLst>
              <a:ext uri="{FF2B5EF4-FFF2-40B4-BE49-F238E27FC236}">
                <a16:creationId xmlns:a16="http://schemas.microsoft.com/office/drawing/2014/main" id="{0359DC84-D002-7378-C1F7-513505F1E485}"/>
              </a:ext>
            </a:extLst>
          </p:cNvPr>
          <p:cNvSpPr txBox="1"/>
          <p:nvPr/>
        </p:nvSpPr>
        <p:spPr>
          <a:xfrm>
            <a:off x="240886" y="6442667"/>
            <a:ext cx="1479644" cy="200055"/>
          </a:xfrm>
          <a:prstGeom prst="rect">
            <a:avLst/>
          </a:prstGeom>
          <a:solidFill>
            <a:schemeClr val="bg1"/>
          </a:solidFill>
        </p:spPr>
        <p:txBody>
          <a:bodyPr wrap="square" rtlCol="0">
            <a:spAutoFit/>
          </a:bodyPr>
          <a:lstStyle/>
          <a:p>
            <a:pPr defTabSz="914411">
              <a:defRPr/>
            </a:pPr>
            <a:r>
              <a:rPr lang="it-IT" sz="700">
                <a:solidFill>
                  <a:srgbClr val="001E60"/>
                </a:solidFill>
                <a:latin typeface="Source Sans Pro SemiBold" panose="020B0603030403020204" pitchFamily="34" charset="0"/>
                <a:ea typeface="Source Sans Pro SemiBold" panose="020B0603030403020204" pitchFamily="34" charset="0"/>
              </a:rPr>
              <a:t>© 2025 Tutti i diritti riservati</a:t>
            </a:r>
          </a:p>
        </p:txBody>
      </p:sp>
      <p:sp>
        <p:nvSpPr>
          <p:cNvPr id="8" name="CasellaDiTesto 7">
            <a:extLst>
              <a:ext uri="{FF2B5EF4-FFF2-40B4-BE49-F238E27FC236}">
                <a16:creationId xmlns:a16="http://schemas.microsoft.com/office/drawing/2014/main" id="{3CAC02F9-6A35-07CD-375F-65B1BE4A040B}"/>
              </a:ext>
            </a:extLst>
          </p:cNvPr>
          <p:cNvSpPr txBox="1"/>
          <p:nvPr/>
        </p:nvSpPr>
        <p:spPr>
          <a:xfrm>
            <a:off x="387152" y="1511658"/>
            <a:ext cx="11104633" cy="4444935"/>
          </a:xfrm>
          <a:prstGeom prst="rect">
            <a:avLst/>
          </a:prstGeom>
          <a:noFill/>
        </p:spPr>
        <p:txBody>
          <a:bodyPr wrap="square" rtlCol="0">
            <a:spAutoFit/>
          </a:bodyPr>
          <a:lstStyle/>
          <a:p>
            <a:pPr>
              <a:spcBef>
                <a:spcPts val="1801"/>
              </a:spcBef>
              <a:defRPr/>
            </a:pPr>
            <a:r>
              <a:rPr lang="it-IT" sz="3600" b="1" dirty="0">
                <a:solidFill>
                  <a:srgbClr val="001E60"/>
                </a:solidFill>
                <a:latin typeface="Source Sans Pro SemiBold" panose="020B0603030403020204" pitchFamily="34" charset="0"/>
                <a:ea typeface="Source Sans Pro SemiBold" panose="020B0603030403020204" pitchFamily="34" charset="0"/>
              </a:rPr>
              <a:t>Toscana 2050. Uno sguardo per anticipare il futuro</a:t>
            </a:r>
          </a:p>
          <a:p>
            <a:pPr defTabSz="914411">
              <a:spcBef>
                <a:spcPts val="1801"/>
              </a:spcBef>
              <a:defRPr/>
            </a:pPr>
            <a:r>
              <a:rPr lang="it-IT" sz="3600" b="1" dirty="0">
                <a:solidFill>
                  <a:srgbClr val="F47B20"/>
                </a:solidFill>
                <a:latin typeface="Source Sans Pro SemiBold" panose="020B0603030403020204" pitchFamily="34" charset="0"/>
                <a:ea typeface="Source Sans Pro SemiBold" panose="020B0603030403020204" pitchFamily="34" charset="0"/>
              </a:rPr>
              <a:t>INTELLIGENZA ARTIFICIALE, EDUCAZIONE E PMI: </a:t>
            </a:r>
            <a:br>
              <a:rPr lang="it-IT" sz="3600" b="1" dirty="0">
                <a:solidFill>
                  <a:srgbClr val="F47B20"/>
                </a:solidFill>
                <a:latin typeface="Source Sans Pro SemiBold" panose="020B0603030403020204" pitchFamily="34" charset="0"/>
                <a:ea typeface="Source Sans Pro SemiBold" panose="020B0603030403020204" pitchFamily="34" charset="0"/>
              </a:rPr>
            </a:br>
            <a:r>
              <a:rPr lang="it-IT" sz="3600" b="1" dirty="0">
                <a:solidFill>
                  <a:srgbClr val="F47B20"/>
                </a:solidFill>
                <a:latin typeface="Source Sans Pro SemiBold" panose="020B0603030403020204" pitchFamily="34" charset="0"/>
                <a:ea typeface="Source Sans Pro SemiBold" panose="020B0603030403020204" pitchFamily="34" charset="0"/>
              </a:rPr>
              <a:t>IL FUTURO È ADESSO</a:t>
            </a:r>
          </a:p>
          <a:p>
            <a:pPr defTabSz="914411">
              <a:spcBef>
                <a:spcPts val="1801"/>
              </a:spcBef>
              <a:defRPr/>
            </a:pPr>
            <a:r>
              <a:rPr lang="it-IT" sz="3200" dirty="0">
                <a:solidFill>
                  <a:srgbClr val="00235A"/>
                </a:solidFill>
                <a:latin typeface="Source Sans Pro SemiBold" panose="020B0603030403020204" pitchFamily="34" charset="0"/>
                <a:ea typeface="Source Sans Pro SemiBold" panose="020B0603030403020204" pitchFamily="34" charset="0"/>
              </a:rPr>
              <a:t>Una visione d’insieme sulle principali analisi e proposte del rapporto conclusivo di “Toscana 2050”</a:t>
            </a:r>
          </a:p>
          <a:p>
            <a:pPr>
              <a:spcBef>
                <a:spcPts val="1801"/>
              </a:spcBef>
              <a:defRPr/>
            </a:pPr>
            <a:r>
              <a:rPr lang="it-IT" sz="2800" b="1" dirty="0">
                <a:solidFill>
                  <a:schemeClr val="bg1">
                    <a:lumMod val="50000"/>
                  </a:schemeClr>
                </a:solidFill>
                <a:latin typeface="Source Sans Pro SemiBold" panose="020B0603030403020204" pitchFamily="34" charset="0"/>
                <a:ea typeface="Source Sans Pro SemiBold" panose="020B0603030403020204" pitchFamily="34" charset="0"/>
              </a:rPr>
              <a:t>Pio Parma </a:t>
            </a:r>
            <a:r>
              <a:rPr lang="it-IT" sz="2201" dirty="0">
                <a:solidFill>
                  <a:schemeClr val="bg1">
                    <a:lumMod val="50000"/>
                  </a:schemeClr>
                </a:solidFill>
                <a:latin typeface="Source Sans Pro" panose="020B0503030403020204" pitchFamily="34" charset="0"/>
                <a:ea typeface="Source Sans Pro SemiBold" panose="020B0603030403020204" pitchFamily="34" charset="0"/>
              </a:rPr>
              <a:t>(</a:t>
            </a:r>
            <a:r>
              <a:rPr lang="it-IT" sz="2201" i="1" dirty="0">
                <a:solidFill>
                  <a:schemeClr val="bg1">
                    <a:lumMod val="50000"/>
                  </a:schemeClr>
                </a:solidFill>
                <a:latin typeface="Source Sans Pro" panose="020B0503030403020204" pitchFamily="34" charset="0"/>
                <a:ea typeface="Source Sans Pro SemiBold" panose="020B0603030403020204" pitchFamily="34" charset="0"/>
              </a:rPr>
              <a:t>Senior Consultant </a:t>
            </a:r>
            <a:r>
              <a:rPr lang="it-IT" sz="2201" dirty="0">
                <a:solidFill>
                  <a:schemeClr val="bg1">
                    <a:lumMod val="50000"/>
                  </a:schemeClr>
                </a:solidFill>
                <a:latin typeface="Source Sans Pro" panose="020B0503030403020204" pitchFamily="34" charset="0"/>
                <a:ea typeface="Source Sans Pro SemiBold" panose="020B0603030403020204" pitchFamily="34" charset="0"/>
              </a:rPr>
              <a:t>Area Scenari e </a:t>
            </a:r>
            <a:r>
              <a:rPr lang="en-GB" sz="2201" i="1" dirty="0">
                <a:solidFill>
                  <a:schemeClr val="bg1">
                    <a:lumMod val="50000"/>
                  </a:schemeClr>
                </a:solidFill>
                <a:latin typeface="Source Sans Pro" panose="020B0503030403020204" pitchFamily="34" charset="0"/>
                <a:ea typeface="Source Sans Pro SemiBold" panose="020B0603030403020204" pitchFamily="34" charset="0"/>
              </a:rPr>
              <a:t>Intelligence</a:t>
            </a:r>
            <a:r>
              <a:rPr lang="en-GB" sz="2201" dirty="0">
                <a:solidFill>
                  <a:schemeClr val="bg1">
                    <a:lumMod val="50000"/>
                  </a:schemeClr>
                </a:solidFill>
                <a:latin typeface="Source Sans Pro" panose="020B0503030403020204" pitchFamily="34" charset="0"/>
                <a:ea typeface="Source Sans Pro SemiBold" panose="020B0603030403020204" pitchFamily="34" charset="0"/>
              </a:rPr>
              <a:t>, TEHA Group</a:t>
            </a:r>
            <a:r>
              <a:rPr lang="it-IT" sz="2201" dirty="0">
                <a:solidFill>
                  <a:schemeClr val="bg1">
                    <a:lumMod val="50000"/>
                  </a:schemeClr>
                </a:solidFill>
                <a:latin typeface="Source Sans Pro" panose="020B0503030403020204" pitchFamily="34" charset="0"/>
                <a:ea typeface="Source Sans Pro SemiBold" panose="020B0603030403020204" pitchFamily="34" charset="0"/>
              </a:rPr>
              <a:t>) </a:t>
            </a:r>
          </a:p>
          <a:p>
            <a:pPr defTabSz="914411" fontAlgn="base">
              <a:spcBef>
                <a:spcPts val="400"/>
              </a:spcBef>
              <a:spcAft>
                <a:spcPct val="0"/>
              </a:spcAft>
              <a:defRPr/>
            </a:pPr>
            <a:endParaRPr lang="it-IT" sz="1051" b="1" kern="100" dirty="0">
              <a:solidFill>
                <a:srgbClr val="020060"/>
              </a:solidFill>
              <a:latin typeface="Source Sans Pro"/>
              <a:ea typeface="Calibri" panose="020F0502020204030204" pitchFamily="34" charset="0"/>
              <a:cs typeface="Calibri" panose="020F0502020204030204" pitchFamily="34" charset="0"/>
            </a:endParaRPr>
          </a:p>
          <a:p>
            <a:pPr defTabSz="914411" fontAlgn="base">
              <a:spcBef>
                <a:spcPct val="0"/>
              </a:spcBef>
              <a:spcAft>
                <a:spcPct val="0"/>
              </a:spcAft>
              <a:defRPr/>
            </a:pPr>
            <a:r>
              <a:rPr lang="it-IT" sz="2400" dirty="0">
                <a:solidFill>
                  <a:prstClr val="white">
                    <a:lumMod val="50000"/>
                  </a:prstClr>
                </a:solidFill>
                <a:latin typeface="Source Sans Pro"/>
                <a:ea typeface="Source Sans Pro SemiBold" panose="020B0603030403020204" pitchFamily="34" charset="0"/>
              </a:rPr>
              <a:t>Firenze, Cinema La Compagnia, venerdì 27 giugno 2025</a:t>
            </a:r>
            <a:endParaRPr lang="it-IT" sz="3200" dirty="0">
              <a:solidFill>
                <a:prstClr val="white">
                  <a:lumMod val="50000"/>
                </a:prstClr>
              </a:solidFill>
              <a:latin typeface="Source Sans Pro"/>
              <a:ea typeface="Source Sans Pro SemiBold" panose="020B0603030403020204" pitchFamily="34" charset="0"/>
            </a:endParaRPr>
          </a:p>
        </p:txBody>
      </p:sp>
      <p:pic>
        <p:nvPicPr>
          <p:cNvPr id="4" name="Immagine 3">
            <a:extLst>
              <a:ext uri="{FF2B5EF4-FFF2-40B4-BE49-F238E27FC236}">
                <a16:creationId xmlns:a16="http://schemas.microsoft.com/office/drawing/2014/main" id="{624FAAEB-D3F7-B5A0-DA90-1DD72CF8E0FE}"/>
              </a:ext>
            </a:extLst>
          </p:cNvPr>
          <p:cNvPicPr>
            <a:picLocks noChangeAspect="1"/>
          </p:cNvPicPr>
          <p:nvPr/>
        </p:nvPicPr>
        <p:blipFill>
          <a:blip r:embed="rId6"/>
          <a:srcRect t="11656"/>
          <a:stretch>
            <a:fillRect/>
          </a:stretch>
        </p:blipFill>
        <p:spPr>
          <a:xfrm>
            <a:off x="2981548" y="308921"/>
            <a:ext cx="1825232" cy="639184"/>
          </a:xfrm>
          <a:prstGeom prst="rect">
            <a:avLst/>
          </a:prstGeom>
        </p:spPr>
      </p:pic>
    </p:spTree>
    <p:extLst>
      <p:ext uri="{BB962C8B-B14F-4D97-AF65-F5344CB8AC3E}">
        <p14:creationId xmlns:p14="http://schemas.microsoft.com/office/powerpoint/2010/main" val="25903035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4C6BF0C8-E2B6-4FFC-56D7-53F932234A34}"/>
              </a:ext>
            </a:extLst>
          </p:cNvPr>
          <p:cNvSpPr/>
          <p:nvPr/>
        </p:nvSpPr>
        <p:spPr>
          <a:xfrm>
            <a:off x="3" y="562978"/>
            <a:ext cx="12191998" cy="422384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11">
              <a:defRPr/>
            </a:pPr>
            <a:endParaRPr lang="it-IT" sz="1801">
              <a:solidFill>
                <a:srgbClr val="FFFFFF"/>
              </a:solidFill>
              <a:latin typeface="Tahoma"/>
            </a:endParaRPr>
          </a:p>
        </p:txBody>
      </p:sp>
      <p:sp>
        <p:nvSpPr>
          <p:cNvPr id="4" name="CasellaDiTesto 3">
            <a:extLst>
              <a:ext uri="{FF2B5EF4-FFF2-40B4-BE49-F238E27FC236}">
                <a16:creationId xmlns:a16="http://schemas.microsoft.com/office/drawing/2014/main" id="{EDC028A8-7FF6-2FDB-3050-2898FA9673B4}"/>
              </a:ext>
            </a:extLst>
          </p:cNvPr>
          <p:cNvSpPr txBox="1"/>
          <p:nvPr/>
        </p:nvSpPr>
        <p:spPr>
          <a:xfrm>
            <a:off x="3449258" y="883928"/>
            <a:ext cx="5066299" cy="584775"/>
          </a:xfrm>
          <a:prstGeom prst="rect">
            <a:avLst/>
          </a:prstGeom>
          <a:noFill/>
        </p:spPr>
        <p:txBody>
          <a:bodyPr wrap="square">
            <a:spAutoFit/>
          </a:bodyPr>
          <a:lstStyle/>
          <a:p>
            <a:pPr algn="ctr" defTabSz="914411">
              <a:defRPr/>
            </a:pPr>
            <a:r>
              <a:rPr lang="it-IT" sz="3200" dirty="0">
                <a:solidFill>
                  <a:srgbClr val="F47B20"/>
                </a:solidFill>
                <a:latin typeface="Source Sans Pro SemiBold" panose="020B0603030403020204" pitchFamily="34" charset="0"/>
                <a:ea typeface="Source Sans Pro SemiBold" panose="020B0603030403020204" pitchFamily="34" charset="0"/>
              </a:rPr>
              <a:t>Grazie per l’attenzione</a:t>
            </a:r>
          </a:p>
        </p:txBody>
      </p:sp>
      <p:sp>
        <p:nvSpPr>
          <p:cNvPr id="7" name="CasellaDiTesto 6">
            <a:extLst>
              <a:ext uri="{FF2B5EF4-FFF2-40B4-BE49-F238E27FC236}">
                <a16:creationId xmlns:a16="http://schemas.microsoft.com/office/drawing/2014/main" id="{DD77966F-2C50-AA10-023A-D964ABA41556}"/>
              </a:ext>
            </a:extLst>
          </p:cNvPr>
          <p:cNvSpPr txBox="1"/>
          <p:nvPr/>
        </p:nvSpPr>
        <p:spPr>
          <a:xfrm>
            <a:off x="3690491" y="2127767"/>
            <a:ext cx="4583835" cy="1200329"/>
          </a:xfrm>
          <a:prstGeom prst="rect">
            <a:avLst/>
          </a:prstGeom>
          <a:noFill/>
        </p:spPr>
        <p:txBody>
          <a:bodyPr wrap="square">
            <a:spAutoFit/>
          </a:bodyPr>
          <a:lstStyle/>
          <a:p>
            <a:pPr algn="ctr" defTabSz="914411">
              <a:defRPr/>
            </a:pPr>
            <a:r>
              <a:rPr lang="it-IT" sz="2400" dirty="0">
                <a:solidFill>
                  <a:srgbClr val="001E60"/>
                </a:solidFill>
                <a:latin typeface="Source Sans Pro SemiBold" panose="020B0603030403020204" pitchFamily="34" charset="0"/>
                <a:ea typeface="Source Sans Pro SemiBold" panose="020B0603030403020204" pitchFamily="34" charset="0"/>
              </a:rPr>
              <a:t>Pio Parma</a:t>
            </a:r>
          </a:p>
          <a:p>
            <a:pPr algn="ctr" defTabSz="914411">
              <a:defRPr/>
            </a:pPr>
            <a:r>
              <a:rPr lang="en-US" sz="1600" i="1" dirty="0">
                <a:solidFill>
                  <a:srgbClr val="001E60"/>
                </a:solidFill>
                <a:latin typeface="Source Sans Pro" panose="020B0503030403020204" pitchFamily="34" charset="0"/>
                <a:ea typeface="Source Sans Pro" panose="020B0503030403020204" pitchFamily="34" charset="0"/>
              </a:rPr>
              <a:t>Senior Consultant</a:t>
            </a:r>
            <a:r>
              <a:rPr lang="it-IT" sz="1600" i="1" dirty="0">
                <a:solidFill>
                  <a:srgbClr val="001E60"/>
                </a:solidFill>
                <a:latin typeface="Source Sans Pro" panose="020B0503030403020204" pitchFamily="34" charset="0"/>
                <a:ea typeface="Source Sans Pro" panose="020B0503030403020204" pitchFamily="34" charset="0"/>
              </a:rPr>
              <a:t> </a:t>
            </a:r>
            <a:r>
              <a:rPr lang="it-IT" sz="1600" dirty="0">
                <a:solidFill>
                  <a:srgbClr val="001E60"/>
                </a:solidFill>
                <a:latin typeface="Source Sans Pro" panose="020B0503030403020204" pitchFamily="34" charset="0"/>
                <a:ea typeface="Source Sans Pro" panose="020B0503030403020204" pitchFamily="34" charset="0"/>
              </a:rPr>
              <a:t>Area Scenari e </a:t>
            </a:r>
            <a:r>
              <a:rPr lang="it-IT" sz="1600" i="1" dirty="0">
                <a:solidFill>
                  <a:srgbClr val="001E60"/>
                </a:solidFill>
                <a:latin typeface="Source Sans Pro" panose="020B0503030403020204" pitchFamily="34" charset="0"/>
                <a:ea typeface="Source Sans Pro" panose="020B0503030403020204" pitchFamily="34" charset="0"/>
              </a:rPr>
              <a:t>Intelligence</a:t>
            </a:r>
            <a:br>
              <a:rPr lang="en-US" sz="1600" i="1" dirty="0">
                <a:solidFill>
                  <a:srgbClr val="001E60"/>
                </a:solidFill>
                <a:latin typeface="Source Sans Pro" panose="020B0503030403020204" pitchFamily="34" charset="0"/>
                <a:ea typeface="Source Sans Pro" panose="020B0503030403020204" pitchFamily="34" charset="0"/>
              </a:rPr>
            </a:br>
            <a:r>
              <a:rPr lang="en-US" sz="1600" dirty="0">
                <a:solidFill>
                  <a:srgbClr val="001E60"/>
                </a:solidFill>
                <a:latin typeface="Source Sans Pro" panose="020B0503030403020204" pitchFamily="34" charset="0"/>
                <a:ea typeface="Source Sans Pro" panose="020B0503030403020204" pitchFamily="34" charset="0"/>
              </a:rPr>
              <a:t>TEHA Group</a:t>
            </a:r>
            <a:endParaRPr lang="it-IT" sz="1600" dirty="0">
              <a:solidFill>
                <a:srgbClr val="001E60"/>
              </a:solidFill>
              <a:latin typeface="Source Sans Pro" panose="020B0503030403020204" pitchFamily="34" charset="0"/>
              <a:ea typeface="Source Sans Pro" panose="020B0503030403020204" pitchFamily="34" charset="0"/>
            </a:endParaRPr>
          </a:p>
          <a:p>
            <a:pPr algn="ctr" defTabSz="914411">
              <a:defRPr/>
            </a:pPr>
            <a:r>
              <a:rPr lang="it-IT" sz="1600" dirty="0">
                <a:solidFill>
                  <a:srgbClr val="001E60"/>
                </a:solidFill>
                <a:latin typeface="Source Sans Pro" panose="020B0503030403020204" pitchFamily="34" charset="0"/>
                <a:ea typeface="Source Sans Pro" panose="020B0503030403020204" pitchFamily="34" charset="0"/>
              </a:rPr>
              <a:t>e-mail: pio.parma@ambrosetti.eu</a:t>
            </a:r>
          </a:p>
        </p:txBody>
      </p:sp>
      <p:sp>
        <p:nvSpPr>
          <p:cNvPr id="9" name="CasellaDiTesto 8">
            <a:extLst>
              <a:ext uri="{FF2B5EF4-FFF2-40B4-BE49-F238E27FC236}">
                <a16:creationId xmlns:a16="http://schemas.microsoft.com/office/drawing/2014/main" id="{5600EF0A-6369-0C06-52C3-DF9A182184EA}"/>
              </a:ext>
            </a:extLst>
          </p:cNvPr>
          <p:cNvSpPr txBox="1"/>
          <p:nvPr/>
        </p:nvSpPr>
        <p:spPr>
          <a:xfrm>
            <a:off x="3325819" y="4061257"/>
            <a:ext cx="5313179" cy="369460"/>
          </a:xfrm>
          <a:prstGeom prst="rect">
            <a:avLst/>
          </a:prstGeom>
          <a:noFill/>
        </p:spPr>
        <p:txBody>
          <a:bodyPr wrap="square" anchor="ctr">
            <a:spAutoFit/>
          </a:bodyPr>
          <a:lstStyle/>
          <a:p>
            <a:pPr algn="ctr" defTabSz="914411">
              <a:defRPr/>
            </a:pPr>
            <a:r>
              <a:rPr lang="it-IT" sz="1801" u="sng">
                <a:solidFill>
                  <a:srgbClr val="001E60"/>
                </a:solidFill>
                <a:latin typeface="Source Sans Pro"/>
                <a:ea typeface="MS PGothic" pitchFamily="34" charset="-128"/>
              </a:rPr>
              <a:t>www.ambrosetti.eu</a:t>
            </a:r>
            <a:endParaRPr lang="it-IT" sz="1801" u="sng">
              <a:solidFill>
                <a:srgbClr val="000000"/>
              </a:solidFill>
              <a:latin typeface="Source Sans Pro"/>
              <a:ea typeface="MS PGothic" pitchFamily="34" charset="-128"/>
            </a:endParaRPr>
          </a:p>
        </p:txBody>
      </p:sp>
      <p:sp>
        <p:nvSpPr>
          <p:cNvPr id="10" name="CasellaDiTesto 9">
            <a:extLst>
              <a:ext uri="{FF2B5EF4-FFF2-40B4-BE49-F238E27FC236}">
                <a16:creationId xmlns:a16="http://schemas.microsoft.com/office/drawing/2014/main" id="{237A5957-1F6B-8DA2-A616-016719109402}"/>
              </a:ext>
            </a:extLst>
          </p:cNvPr>
          <p:cNvSpPr txBox="1"/>
          <p:nvPr/>
        </p:nvSpPr>
        <p:spPr>
          <a:xfrm>
            <a:off x="1750656" y="5221309"/>
            <a:ext cx="10112263" cy="909929"/>
          </a:xfrm>
          <a:prstGeom prst="rect">
            <a:avLst/>
          </a:prstGeom>
          <a:noFill/>
        </p:spPr>
        <p:txBody>
          <a:bodyPr wrap="square">
            <a:spAutoFit/>
          </a:bodyPr>
          <a:lstStyle/>
          <a:p>
            <a:pPr algn="ctr" defTabSz="914411">
              <a:lnSpc>
                <a:spcPct val="130000"/>
              </a:lnSpc>
              <a:defRPr/>
            </a:pPr>
            <a:r>
              <a:rPr lang="it-IT" sz="1401" i="1" dirty="0">
                <a:solidFill>
                  <a:srgbClr val="001E60"/>
                </a:solidFill>
                <a:latin typeface="Source Sans Pro"/>
                <a:ea typeface="Source Sans Pro Semibold" panose="020B0603030403020204" pitchFamily="34" charset="0"/>
              </a:rPr>
              <a:t>Dal 2013 TEHA Group è stata nominata nella categoria "Best Private Think Tanks" - 1° Think Tank in Italia, 4° nell’Unione Europea </a:t>
            </a:r>
            <a:br>
              <a:rPr lang="it-IT" sz="1401" i="1" dirty="0">
                <a:solidFill>
                  <a:srgbClr val="001E60"/>
                </a:solidFill>
                <a:latin typeface="Source Sans Pro"/>
                <a:ea typeface="Source Sans Pro Semibold" panose="020B0603030403020204" pitchFamily="34" charset="0"/>
              </a:rPr>
            </a:br>
            <a:r>
              <a:rPr lang="it-IT" sz="1401" i="1" dirty="0">
                <a:solidFill>
                  <a:srgbClr val="001E60"/>
                </a:solidFill>
                <a:latin typeface="Source Sans Pro"/>
                <a:ea typeface="Source Sans Pro Semibold" panose="020B0603030403020204" pitchFamily="34" charset="0"/>
              </a:rPr>
              <a:t>e tra i più rispettati indipendenti al mondo su 11.175 a livello globale (fonte: “Global Go To Think Tanks Report” dell’Università della Pennsylvania). TEHA Group è stata riconosciuta da Top </a:t>
            </a:r>
            <a:r>
              <a:rPr lang="it-IT" sz="1401" i="1" dirty="0" err="1">
                <a:solidFill>
                  <a:srgbClr val="001E60"/>
                </a:solidFill>
                <a:latin typeface="Source Sans Pro"/>
                <a:ea typeface="Source Sans Pro Semibold" panose="020B0603030403020204" pitchFamily="34" charset="0"/>
              </a:rPr>
              <a:t>Employers</a:t>
            </a:r>
            <a:r>
              <a:rPr lang="it-IT" sz="1401" i="1" dirty="0">
                <a:solidFill>
                  <a:srgbClr val="001E60"/>
                </a:solidFill>
                <a:latin typeface="Source Sans Pro"/>
                <a:ea typeface="Source Sans Pro Semibold" panose="020B0603030403020204" pitchFamily="34" charset="0"/>
              </a:rPr>
              <a:t> Institute come una delle 151 realtà Top </a:t>
            </a:r>
            <a:r>
              <a:rPr lang="it-IT" sz="1401" i="1" dirty="0" err="1">
                <a:solidFill>
                  <a:srgbClr val="001E60"/>
                </a:solidFill>
                <a:latin typeface="Source Sans Pro"/>
                <a:ea typeface="Source Sans Pro Semibold" panose="020B0603030403020204" pitchFamily="34" charset="0"/>
              </a:rPr>
              <a:t>Employer</a:t>
            </a:r>
            <a:r>
              <a:rPr lang="it-IT" sz="1401" i="1" dirty="0">
                <a:solidFill>
                  <a:srgbClr val="001E60"/>
                </a:solidFill>
                <a:latin typeface="Source Sans Pro"/>
                <a:ea typeface="Source Sans Pro Semibold" panose="020B0603030403020204" pitchFamily="34" charset="0"/>
              </a:rPr>
              <a:t> 2025 in Italia.</a:t>
            </a:r>
          </a:p>
        </p:txBody>
      </p:sp>
      <p:pic>
        <p:nvPicPr>
          <p:cNvPr id="11" name="Immagine 10" descr="Immagine che contiene testo, Carattere, schermata, numero&#10;&#10;Descrizione generata automaticamente">
            <a:extLst>
              <a:ext uri="{FF2B5EF4-FFF2-40B4-BE49-F238E27FC236}">
                <a16:creationId xmlns:a16="http://schemas.microsoft.com/office/drawing/2014/main" id="{7B515DD5-0240-73A8-3EA8-26C67959D2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3065" y="5324116"/>
            <a:ext cx="1519737" cy="703673"/>
          </a:xfrm>
          <a:prstGeom prst="rect">
            <a:avLst/>
          </a:prstGeom>
        </p:spPr>
      </p:pic>
    </p:spTree>
    <p:extLst>
      <p:ext uri="{BB962C8B-B14F-4D97-AF65-F5344CB8AC3E}">
        <p14:creationId xmlns:p14="http://schemas.microsoft.com/office/powerpoint/2010/main" val="29556642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E7B11-6BCB-40D7-2C3E-B009FEC51C96}"/>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3D321A9C-8F68-63C1-1EAF-940171C5D669}"/>
              </a:ext>
            </a:extLst>
          </p:cNvPr>
          <p:cNvSpPr>
            <a:spLocks noGrp="1"/>
          </p:cNvSpPr>
          <p:nvPr>
            <p:ph type="title"/>
          </p:nvPr>
        </p:nvSpPr>
        <p:spPr>
          <a:xfrm>
            <a:off x="403313" y="206101"/>
            <a:ext cx="11379820" cy="553198"/>
          </a:xfrm>
        </p:spPr>
        <p:txBody>
          <a:bodyPr/>
          <a:lstStyle/>
          <a:p>
            <a:r>
              <a:rPr lang="it-IT" sz="2800" dirty="0">
                <a:solidFill>
                  <a:srgbClr val="C00000"/>
                </a:solidFill>
              </a:rPr>
              <a:t>IL PUNTO DI PARTENZA:</a:t>
            </a:r>
            <a:r>
              <a:rPr lang="it-IT" sz="2800" dirty="0"/>
              <a:t> l’emergere delle nuove tecnologie digitali sta rivoluzionando il mercato del lavoro e i modelli di </a:t>
            </a:r>
            <a:r>
              <a:rPr lang="it-IT" sz="2800" i="1" dirty="0"/>
              <a:t>business</a:t>
            </a:r>
            <a:endParaRPr lang="it-IT" sz="2800" b="1" i="1" dirty="0"/>
          </a:p>
        </p:txBody>
      </p:sp>
      <p:sp>
        <p:nvSpPr>
          <p:cNvPr id="5" name="Segnaposto testo 3">
            <a:extLst>
              <a:ext uri="{FF2B5EF4-FFF2-40B4-BE49-F238E27FC236}">
                <a16:creationId xmlns:a16="http://schemas.microsoft.com/office/drawing/2014/main" id="{72DD4013-BDED-6499-4B07-215C29D46B23}"/>
              </a:ext>
            </a:extLst>
          </p:cNvPr>
          <p:cNvSpPr>
            <a:spLocks noGrp="1"/>
          </p:cNvSpPr>
          <p:nvPr>
            <p:ph type="body" sz="quarter" idx="10"/>
          </p:nvPr>
        </p:nvSpPr>
        <p:spPr>
          <a:xfrm>
            <a:off x="1595888" y="6512995"/>
            <a:ext cx="8488363" cy="277812"/>
          </a:xfrm>
        </p:spPr>
        <p:txBody>
          <a:bodyPr/>
          <a:lstStyle/>
          <a:p>
            <a:r>
              <a:rPr lang="it-IT" dirty="0"/>
              <a:t>Fonte: elaborazione TEHA Group</a:t>
            </a:r>
            <a:r>
              <a:rPr lang="en-US" dirty="0"/>
              <a:t>, 2025</a:t>
            </a:r>
            <a:endParaRPr lang="it-IT" dirty="0"/>
          </a:p>
        </p:txBody>
      </p:sp>
      <p:sp>
        <p:nvSpPr>
          <p:cNvPr id="10" name="Rettangolo 9">
            <a:extLst>
              <a:ext uri="{FF2B5EF4-FFF2-40B4-BE49-F238E27FC236}">
                <a16:creationId xmlns:a16="http://schemas.microsoft.com/office/drawing/2014/main" id="{EDFC3B7B-1B22-8DCE-AAA1-5AAF432AC051}"/>
              </a:ext>
            </a:extLst>
          </p:cNvPr>
          <p:cNvSpPr/>
          <p:nvPr/>
        </p:nvSpPr>
        <p:spPr>
          <a:xfrm>
            <a:off x="1361253" y="1178578"/>
            <a:ext cx="10421881" cy="47526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1219185">
              <a:spcBef>
                <a:spcPts val="1200"/>
              </a:spcBef>
              <a:spcAft>
                <a:spcPts val="1200"/>
              </a:spcAft>
              <a:buClr>
                <a:srgbClr val="F47B20"/>
              </a:buClr>
              <a:defRPr/>
            </a:pPr>
            <a:r>
              <a:rPr lang="it-IT" sz="2000" dirty="0">
                <a:solidFill>
                  <a:srgbClr val="001E60"/>
                </a:solidFill>
                <a:latin typeface="Source Sans Pro (Corpo)"/>
                <a:ea typeface="MS PGothic" pitchFamily="34" charset="-128"/>
              </a:rPr>
              <a:t>Il numero di </a:t>
            </a:r>
            <a:r>
              <a:rPr lang="it-IT" sz="2000" b="1" dirty="0">
                <a:solidFill>
                  <a:srgbClr val="001E60"/>
                </a:solidFill>
                <a:latin typeface="Source Sans Pro (Corpo)"/>
                <a:ea typeface="MS PGothic" pitchFamily="34" charset="-128"/>
              </a:rPr>
              <a:t>dispositivi collegati ad Internet </a:t>
            </a:r>
            <a:r>
              <a:rPr lang="it-IT" sz="2000" dirty="0">
                <a:solidFill>
                  <a:srgbClr val="001E60"/>
                </a:solidFill>
                <a:latin typeface="Source Sans Pro (Corpo)"/>
                <a:ea typeface="MS PGothic" pitchFamily="34" charset="-128"/>
              </a:rPr>
              <a:t>è in continua crescita in tutti i settori produttivi: nel mondo, si prevedono i  tassi di crescita più marcati nella diffusione di </a:t>
            </a:r>
            <a:r>
              <a:rPr lang="it-IT" sz="2000" b="1" i="1" dirty="0">
                <a:solidFill>
                  <a:srgbClr val="001E60"/>
                </a:solidFill>
                <a:latin typeface="Source Sans Pro (Corpo)"/>
                <a:ea typeface="MS PGothic" pitchFamily="34" charset="-128"/>
              </a:rPr>
              <a:t>device</a:t>
            </a:r>
            <a:r>
              <a:rPr lang="it-IT" sz="2000" b="1" dirty="0">
                <a:solidFill>
                  <a:srgbClr val="001E60"/>
                </a:solidFill>
                <a:latin typeface="Source Sans Pro (Corpo)"/>
                <a:ea typeface="MS PGothic" pitchFamily="34" charset="-128"/>
              </a:rPr>
              <a:t> IoT </a:t>
            </a:r>
            <a:r>
              <a:rPr lang="it-IT" sz="2000" dirty="0">
                <a:solidFill>
                  <a:srgbClr val="001E60"/>
                </a:solidFill>
                <a:latin typeface="Source Sans Pro (Corpo)"/>
                <a:ea typeface="MS PGothic" pitchFamily="34" charset="-128"/>
              </a:rPr>
              <a:t>nei settori dell’agricoltura, del ciclo idrico-ambientale e dell’edilizia</a:t>
            </a:r>
          </a:p>
          <a:p>
            <a:pPr defTabSz="1219185">
              <a:spcBef>
                <a:spcPts val="1200"/>
              </a:spcBef>
              <a:spcAft>
                <a:spcPts val="1200"/>
              </a:spcAft>
              <a:buClr>
                <a:srgbClr val="F47B20"/>
              </a:buClr>
              <a:defRPr/>
            </a:pPr>
            <a:r>
              <a:rPr lang="it-IT" sz="2000" dirty="0">
                <a:solidFill>
                  <a:srgbClr val="001E60"/>
                </a:solidFill>
                <a:latin typeface="Source Sans Pro (Corpo)"/>
                <a:ea typeface="MS PGothic" pitchFamily="34" charset="-128"/>
              </a:rPr>
              <a:t>Il mercato mondiale del </a:t>
            </a:r>
            <a:r>
              <a:rPr lang="it-IT" sz="2000" b="1" i="1" dirty="0">
                <a:solidFill>
                  <a:srgbClr val="001E60"/>
                </a:solidFill>
                <a:latin typeface="Source Sans Pro (Corpo)"/>
                <a:ea typeface="MS PGothic" pitchFamily="34" charset="-128"/>
              </a:rPr>
              <a:t>Cloud Computing </a:t>
            </a:r>
            <a:r>
              <a:rPr lang="it-IT" sz="2000" b="1" dirty="0">
                <a:solidFill>
                  <a:srgbClr val="001E60"/>
                </a:solidFill>
                <a:latin typeface="Source Sans Pro (Corpo)"/>
                <a:ea typeface="MS PGothic" pitchFamily="34" charset="-128"/>
              </a:rPr>
              <a:t>pubblico </a:t>
            </a:r>
            <a:r>
              <a:rPr lang="it-IT" sz="2000" dirty="0">
                <a:solidFill>
                  <a:srgbClr val="001E60"/>
                </a:solidFill>
                <a:latin typeface="Source Sans Pro (Corpo)"/>
                <a:ea typeface="MS PGothic" pitchFamily="34" charset="-128"/>
              </a:rPr>
              <a:t>continua a crescere, anche grazie alla convenienza del modello “</a:t>
            </a:r>
            <a:r>
              <a:rPr lang="it-IT" sz="2000" i="1" dirty="0" err="1">
                <a:solidFill>
                  <a:srgbClr val="001E60"/>
                </a:solidFill>
                <a:latin typeface="Source Sans Pro (Corpo)"/>
                <a:ea typeface="MS PGothic" pitchFamily="34" charset="-128"/>
              </a:rPr>
              <a:t>pay</a:t>
            </a:r>
            <a:r>
              <a:rPr lang="it-IT" sz="2000" i="1" dirty="0">
                <a:solidFill>
                  <a:srgbClr val="001E60"/>
                </a:solidFill>
                <a:latin typeface="Source Sans Pro (Corpo)"/>
                <a:ea typeface="MS PGothic" pitchFamily="34" charset="-128"/>
              </a:rPr>
              <a:t>-</a:t>
            </a:r>
            <a:r>
              <a:rPr lang="it-IT" sz="2000" i="1" dirty="0" err="1">
                <a:solidFill>
                  <a:srgbClr val="001E60"/>
                </a:solidFill>
                <a:latin typeface="Source Sans Pro (Corpo)"/>
                <a:ea typeface="MS PGothic" pitchFamily="34" charset="-128"/>
              </a:rPr>
              <a:t>as</a:t>
            </a:r>
            <a:r>
              <a:rPr lang="it-IT" sz="2000" i="1" dirty="0">
                <a:solidFill>
                  <a:srgbClr val="001E60"/>
                </a:solidFill>
                <a:latin typeface="Source Sans Pro (Corpo)"/>
                <a:ea typeface="MS PGothic" pitchFamily="34" charset="-128"/>
              </a:rPr>
              <a:t>-</a:t>
            </a:r>
            <a:r>
              <a:rPr lang="it-IT" sz="2000" i="1" dirty="0" err="1">
                <a:solidFill>
                  <a:srgbClr val="001E60"/>
                </a:solidFill>
                <a:latin typeface="Source Sans Pro (Corpo)"/>
                <a:ea typeface="MS PGothic" pitchFamily="34" charset="-128"/>
              </a:rPr>
              <a:t>you</a:t>
            </a:r>
            <a:r>
              <a:rPr lang="it-IT" sz="2000" i="1" dirty="0">
                <a:solidFill>
                  <a:srgbClr val="001E60"/>
                </a:solidFill>
                <a:latin typeface="Source Sans Pro (Corpo)"/>
                <a:ea typeface="MS PGothic" pitchFamily="34" charset="-128"/>
              </a:rPr>
              <a:t>-go</a:t>
            </a:r>
            <a:r>
              <a:rPr lang="it-IT" sz="2000" dirty="0">
                <a:solidFill>
                  <a:srgbClr val="001E60"/>
                </a:solidFill>
                <a:latin typeface="Source Sans Pro (Corpo)"/>
                <a:ea typeface="MS PGothic" pitchFamily="34" charset="-128"/>
              </a:rPr>
              <a:t>”</a:t>
            </a:r>
          </a:p>
          <a:p>
            <a:pPr defTabSz="1219185">
              <a:spcBef>
                <a:spcPts val="1200"/>
              </a:spcBef>
              <a:spcAft>
                <a:spcPts val="1200"/>
              </a:spcAft>
              <a:buClr>
                <a:srgbClr val="F47B20"/>
              </a:buClr>
              <a:defRPr/>
            </a:pPr>
            <a:r>
              <a:rPr lang="it-IT" sz="2000" dirty="0">
                <a:solidFill>
                  <a:srgbClr val="001E60"/>
                </a:solidFill>
                <a:latin typeface="Source Sans Pro (Corpo)"/>
                <a:ea typeface="MS PGothic" pitchFamily="34" charset="-128"/>
              </a:rPr>
              <a:t>La velocità della diffusione dell’IA (soprattutto generativa) è in </a:t>
            </a:r>
            <a:r>
              <a:rPr lang="it-IT" sz="2000" b="1" dirty="0">
                <a:solidFill>
                  <a:srgbClr val="001E60"/>
                </a:solidFill>
                <a:latin typeface="Source Sans Pro (Corpo)"/>
                <a:ea typeface="MS PGothic" pitchFamily="34" charset="-128"/>
              </a:rPr>
              <a:t>crescita esponenziale</a:t>
            </a:r>
            <a:r>
              <a:rPr lang="it-IT" sz="2000" dirty="0">
                <a:solidFill>
                  <a:srgbClr val="001E60"/>
                </a:solidFill>
                <a:latin typeface="Source Sans Pro (Corpo)"/>
                <a:ea typeface="MS PGothic" pitchFamily="34" charset="-128"/>
              </a:rPr>
              <a:t>: per raggiungere 100 milioni di utenti mensili globali, la piattaforma ChatGPT ha impiegato </a:t>
            </a:r>
            <a:r>
              <a:rPr lang="it-IT" sz="2000" b="1" dirty="0">
                <a:solidFill>
                  <a:srgbClr val="001E60"/>
                </a:solidFill>
                <a:latin typeface="Source Sans Pro (Corpo)"/>
                <a:ea typeface="MS PGothic" pitchFamily="34" charset="-128"/>
              </a:rPr>
              <a:t>1/80 del tempo rispetto al telefono cellulare</a:t>
            </a:r>
          </a:p>
          <a:p>
            <a:pPr defTabSz="1219185">
              <a:spcBef>
                <a:spcPts val="1200"/>
              </a:spcBef>
              <a:spcAft>
                <a:spcPts val="1200"/>
              </a:spcAft>
              <a:buClr>
                <a:srgbClr val="F47B20"/>
              </a:buClr>
              <a:defRPr/>
            </a:pPr>
            <a:r>
              <a:rPr lang="it-IT" sz="2000" dirty="0">
                <a:solidFill>
                  <a:srgbClr val="001E60"/>
                </a:solidFill>
                <a:latin typeface="Source Sans Pro (Corpo)"/>
                <a:ea typeface="MS PGothic" pitchFamily="34" charset="-128"/>
              </a:rPr>
              <a:t>Entro il 2030, </a:t>
            </a:r>
            <a:r>
              <a:rPr lang="it-IT" sz="2000" b="1" dirty="0">
                <a:solidFill>
                  <a:srgbClr val="001E60"/>
                </a:solidFill>
                <a:latin typeface="Source Sans Pro (Corpo)"/>
                <a:ea typeface="MS PGothic" pitchFamily="34" charset="-128"/>
              </a:rPr>
              <a:t>il mercato dell’Intelligenza Artificiale crescerà di 20 volte rispetto al 2021</a:t>
            </a:r>
            <a:r>
              <a:rPr lang="it-IT" sz="2000" dirty="0">
                <a:solidFill>
                  <a:srgbClr val="001E60"/>
                </a:solidFill>
                <a:latin typeface="Source Sans Pro (Corpo)"/>
                <a:ea typeface="MS PGothic" pitchFamily="34" charset="-128"/>
              </a:rPr>
              <a:t>, con una crescita annua stimata del +39%. Tuttavia, l’Europa, nonostante la propria eccellenza scientifica, registra ancora un forte ritardo negli investimenti in IA, contribuendo solo per il 7% investimenti annuali globali in queste tecnologie (rispetto all’80% cumulato tra USA e Cina)</a:t>
            </a:r>
          </a:p>
          <a:p>
            <a:pPr marL="180002" indent="-180002" defTabSz="1219185">
              <a:spcBef>
                <a:spcPts val="1200"/>
              </a:spcBef>
              <a:spcAft>
                <a:spcPts val="1200"/>
              </a:spcAft>
              <a:buClr>
                <a:srgbClr val="F47B20"/>
              </a:buClr>
              <a:buFont typeface="Arial" panose="020B0604020202020204" pitchFamily="34" charset="0"/>
              <a:buChar char="•"/>
              <a:defRPr/>
            </a:pPr>
            <a:endParaRPr lang="it-IT" sz="2000" b="1" dirty="0">
              <a:solidFill>
                <a:srgbClr val="001E60"/>
              </a:solidFill>
              <a:latin typeface="Source Sans Pro (Corpo)"/>
              <a:ea typeface="MS PGothic" pitchFamily="34" charset="-128"/>
            </a:endParaRPr>
          </a:p>
        </p:txBody>
      </p:sp>
      <p:pic>
        <p:nvPicPr>
          <p:cNvPr id="1034" name="Picture 10" descr="Internet of things ">
            <a:extLst>
              <a:ext uri="{FF2B5EF4-FFF2-40B4-BE49-F238E27FC236}">
                <a16:creationId xmlns:a16="http://schemas.microsoft.com/office/drawing/2014/main" id="{202954B8-7D00-8196-6780-C145062B58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267" y="1289997"/>
            <a:ext cx="828000" cy="8280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Artificial intelligence ">
            <a:extLst>
              <a:ext uri="{FF2B5EF4-FFF2-40B4-BE49-F238E27FC236}">
                <a16:creationId xmlns:a16="http://schemas.microsoft.com/office/drawing/2014/main" id="{9F823705-1535-7C32-F7E4-3F7F529C02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267" y="3419910"/>
            <a:ext cx="828000" cy="8280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Growth ">
            <a:extLst>
              <a:ext uri="{FF2B5EF4-FFF2-40B4-BE49-F238E27FC236}">
                <a16:creationId xmlns:a16="http://schemas.microsoft.com/office/drawing/2014/main" id="{0822E557-F1C2-07A0-430F-EC94A8099A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8267" y="4746232"/>
            <a:ext cx="828000" cy="8280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loud server ">
            <a:extLst>
              <a:ext uri="{FF2B5EF4-FFF2-40B4-BE49-F238E27FC236}">
                <a16:creationId xmlns:a16="http://schemas.microsoft.com/office/drawing/2014/main" id="{BBBB0E47-9D1D-1AA7-2E34-E0B86BFF32A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1264" y="2333051"/>
            <a:ext cx="717931" cy="717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66432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F8ED26-AA93-3D6B-CC77-CF5014A49624}"/>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1F66A065-9DBB-7C09-2DE7-1D5ECC535029}"/>
              </a:ext>
            </a:extLst>
          </p:cNvPr>
          <p:cNvSpPr>
            <a:spLocks noGrp="1"/>
          </p:cNvSpPr>
          <p:nvPr>
            <p:ph type="title"/>
          </p:nvPr>
        </p:nvSpPr>
        <p:spPr>
          <a:xfrm>
            <a:off x="403314" y="206101"/>
            <a:ext cx="11788686" cy="553198"/>
          </a:xfrm>
        </p:spPr>
        <p:txBody>
          <a:bodyPr/>
          <a:lstStyle/>
          <a:p>
            <a:r>
              <a:rPr lang="it-IT" sz="2800" dirty="0"/>
              <a:t>Come si posizionano le imprese toscane in materia di transizione digitale?</a:t>
            </a:r>
            <a:endParaRPr lang="it-IT" sz="2800" b="1" i="1" dirty="0"/>
          </a:p>
        </p:txBody>
      </p:sp>
      <p:sp>
        <p:nvSpPr>
          <p:cNvPr id="5" name="Segnaposto testo 3">
            <a:extLst>
              <a:ext uri="{FF2B5EF4-FFF2-40B4-BE49-F238E27FC236}">
                <a16:creationId xmlns:a16="http://schemas.microsoft.com/office/drawing/2014/main" id="{59E506C9-4E4A-9A92-0B95-C4E57DBE3DBD}"/>
              </a:ext>
            </a:extLst>
          </p:cNvPr>
          <p:cNvSpPr>
            <a:spLocks noGrp="1"/>
          </p:cNvSpPr>
          <p:nvPr>
            <p:ph type="body" sz="quarter" idx="10"/>
          </p:nvPr>
        </p:nvSpPr>
        <p:spPr>
          <a:xfrm>
            <a:off x="1595888" y="6512995"/>
            <a:ext cx="8488363" cy="277812"/>
          </a:xfrm>
        </p:spPr>
        <p:txBody>
          <a:bodyPr/>
          <a:lstStyle/>
          <a:p>
            <a:r>
              <a:rPr lang="it-IT" dirty="0"/>
              <a:t>Fonte: elaborazione TEHA Group su dati </a:t>
            </a:r>
            <a:r>
              <a:rPr lang="it-IT" dirty="0" err="1"/>
              <a:t>Assintel</a:t>
            </a:r>
            <a:r>
              <a:rPr lang="it-IT" dirty="0"/>
              <a:t>, “</a:t>
            </a:r>
            <a:r>
              <a:rPr lang="it-IT" dirty="0" err="1"/>
              <a:t>Assintel</a:t>
            </a:r>
            <a:r>
              <a:rPr lang="it-IT" dirty="0"/>
              <a:t> Report Toscana”, maggio </a:t>
            </a:r>
            <a:r>
              <a:rPr lang="en-US" dirty="0"/>
              <a:t>2025</a:t>
            </a:r>
            <a:endParaRPr lang="it-IT" dirty="0"/>
          </a:p>
        </p:txBody>
      </p:sp>
      <p:sp>
        <p:nvSpPr>
          <p:cNvPr id="10" name="Rettangolo 9">
            <a:extLst>
              <a:ext uri="{FF2B5EF4-FFF2-40B4-BE49-F238E27FC236}">
                <a16:creationId xmlns:a16="http://schemas.microsoft.com/office/drawing/2014/main" id="{7B2EBA9D-5056-0710-8662-A08B23BEDA08}"/>
              </a:ext>
            </a:extLst>
          </p:cNvPr>
          <p:cNvSpPr/>
          <p:nvPr/>
        </p:nvSpPr>
        <p:spPr>
          <a:xfrm>
            <a:off x="681591" y="1252346"/>
            <a:ext cx="4428000" cy="1470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defTabSz="1219185">
              <a:spcBef>
                <a:spcPts val="1200"/>
              </a:spcBef>
              <a:spcAft>
                <a:spcPts val="1200"/>
              </a:spcAft>
              <a:buClr>
                <a:srgbClr val="F47B20"/>
              </a:buClr>
              <a:defRPr/>
            </a:pPr>
            <a:r>
              <a:rPr lang="it-IT" sz="2800" b="1" dirty="0">
                <a:solidFill>
                  <a:srgbClr val="F47B20"/>
                </a:solidFill>
                <a:latin typeface="Source Sans Pro (Corpo)"/>
                <a:ea typeface="MS PGothic" pitchFamily="34" charset="-128"/>
              </a:rPr>
              <a:t>35,4 % </a:t>
            </a:r>
            <a:br>
              <a:rPr lang="it-IT" sz="2800" b="1" dirty="0">
                <a:solidFill>
                  <a:srgbClr val="F47B20"/>
                </a:solidFill>
                <a:latin typeface="Source Sans Pro (Corpo)"/>
                <a:ea typeface="MS PGothic" pitchFamily="34" charset="-128"/>
              </a:rPr>
            </a:br>
            <a:r>
              <a:rPr lang="it-IT" sz="2000" dirty="0">
                <a:solidFill>
                  <a:srgbClr val="001E60"/>
                </a:solidFill>
                <a:latin typeface="Source Sans Pro (Corpo)"/>
                <a:ea typeface="MS PGothic" pitchFamily="34" charset="-128"/>
              </a:rPr>
              <a:t>delle imprese toscane dichiara di prevedere un </a:t>
            </a:r>
            <a:r>
              <a:rPr lang="it-IT" sz="2000" b="1" dirty="0">
                <a:solidFill>
                  <a:srgbClr val="001E60"/>
                </a:solidFill>
                <a:latin typeface="Source Sans Pro (Corpo)"/>
                <a:ea typeface="MS PGothic" pitchFamily="34" charset="-128"/>
              </a:rPr>
              <a:t>incremento delle risorse ICT </a:t>
            </a:r>
            <a:r>
              <a:rPr lang="it-IT" sz="2000" dirty="0">
                <a:solidFill>
                  <a:srgbClr val="001E60"/>
                </a:solidFill>
                <a:latin typeface="Source Sans Pro (Corpo)"/>
                <a:ea typeface="MS PGothic" pitchFamily="34" charset="-128"/>
              </a:rPr>
              <a:t>(vs. 30,1% medio nazionale)</a:t>
            </a:r>
          </a:p>
        </p:txBody>
      </p:sp>
      <p:sp>
        <p:nvSpPr>
          <p:cNvPr id="4" name="CasellaDiTesto 3">
            <a:extLst>
              <a:ext uri="{FF2B5EF4-FFF2-40B4-BE49-F238E27FC236}">
                <a16:creationId xmlns:a16="http://schemas.microsoft.com/office/drawing/2014/main" id="{B07839AF-F999-C45B-D549-4B96A6FEF1DA}"/>
              </a:ext>
            </a:extLst>
          </p:cNvPr>
          <p:cNvSpPr txBox="1"/>
          <p:nvPr/>
        </p:nvSpPr>
        <p:spPr>
          <a:xfrm>
            <a:off x="3" y="4952584"/>
            <a:ext cx="12191998" cy="1092607"/>
          </a:xfrm>
          <a:prstGeom prst="rect">
            <a:avLst/>
          </a:prstGeom>
          <a:solidFill>
            <a:schemeClr val="accent1">
              <a:lumMod val="20000"/>
              <a:lumOff val="80000"/>
            </a:schemeClr>
          </a:solidFill>
        </p:spPr>
        <p:txBody>
          <a:bodyPr wrap="square" anchor="ctr">
            <a:spAutoFit/>
          </a:bodyPr>
          <a:lstStyle/>
          <a:p>
            <a:pPr marL="285753" indent="-285753" defTabSz="1219185">
              <a:spcBef>
                <a:spcPts val="300"/>
              </a:spcBef>
              <a:spcAft>
                <a:spcPts val="300"/>
              </a:spcAft>
              <a:buClr>
                <a:srgbClr val="F47B20"/>
              </a:buClr>
              <a:buFont typeface="Wingdings" panose="05000000000000000000" pitchFamily="2" charset="2"/>
              <a:buChar char="Ø"/>
              <a:defRPr/>
            </a:pPr>
            <a:r>
              <a:rPr lang="it-IT" sz="2000" dirty="0">
                <a:solidFill>
                  <a:srgbClr val="001E60"/>
                </a:solidFill>
                <a:latin typeface="Source Sans Pro (Corpo)"/>
                <a:ea typeface="MS PGothic" pitchFamily="34" charset="-128"/>
              </a:rPr>
              <a:t>Promozione della formazione nelle </a:t>
            </a:r>
            <a:r>
              <a:rPr lang="it-IT" sz="2000" b="1" dirty="0">
                <a:solidFill>
                  <a:srgbClr val="001E60"/>
                </a:solidFill>
                <a:latin typeface="Source Sans Pro (Corpo)"/>
                <a:ea typeface="MS PGothic" pitchFamily="34" charset="-128"/>
              </a:rPr>
              <a:t>discipline STEM</a:t>
            </a:r>
            <a:r>
              <a:rPr lang="it-IT" sz="2000" dirty="0">
                <a:solidFill>
                  <a:srgbClr val="001E60"/>
                </a:solidFill>
                <a:latin typeface="Source Sans Pro (Corpo)"/>
                <a:ea typeface="MS PGothic" pitchFamily="34" charset="-128"/>
              </a:rPr>
              <a:t>* nei </a:t>
            </a:r>
            <a:r>
              <a:rPr lang="it-IT" sz="2000" i="1" dirty="0">
                <a:solidFill>
                  <a:srgbClr val="001E60"/>
                </a:solidFill>
                <a:latin typeface="Source Sans Pro (Corpo)"/>
                <a:ea typeface="MS PGothic" pitchFamily="34" charset="-128"/>
              </a:rPr>
              <a:t>curricula</a:t>
            </a:r>
            <a:r>
              <a:rPr lang="it-IT" sz="2000" dirty="0">
                <a:solidFill>
                  <a:srgbClr val="001E60"/>
                </a:solidFill>
                <a:latin typeface="Source Sans Pro (Corpo)"/>
                <a:ea typeface="MS PGothic" pitchFamily="34" charset="-128"/>
              </a:rPr>
              <a:t> scolastici e universitari (numero di laureati in materie STEM nelle Università toscane più che raddoppiato tra 2008 e 2020, passando da 2.500 a 5.500)</a:t>
            </a:r>
          </a:p>
          <a:p>
            <a:pPr marL="285753" indent="-285753" defTabSz="1219185">
              <a:spcBef>
                <a:spcPts val="300"/>
              </a:spcBef>
              <a:spcAft>
                <a:spcPts val="300"/>
              </a:spcAft>
              <a:buClr>
                <a:srgbClr val="F47B20"/>
              </a:buClr>
              <a:buFont typeface="Wingdings" panose="05000000000000000000" pitchFamily="2" charset="2"/>
              <a:buChar char="Ø"/>
              <a:defRPr/>
            </a:pPr>
            <a:r>
              <a:rPr lang="it-IT" sz="2000" dirty="0">
                <a:solidFill>
                  <a:srgbClr val="001E60"/>
                </a:solidFill>
                <a:latin typeface="Source Sans Pro (Corpo)"/>
                <a:ea typeface="MS PGothic" pitchFamily="34" charset="-128"/>
              </a:rPr>
              <a:t>Investire  nell’</a:t>
            </a:r>
            <a:r>
              <a:rPr lang="it-IT" sz="2000" b="1" dirty="0">
                <a:solidFill>
                  <a:srgbClr val="001E60"/>
                </a:solidFill>
                <a:latin typeface="Source Sans Pro (Corpo)"/>
                <a:ea typeface="MS PGothic" pitchFamily="34" charset="-128"/>
              </a:rPr>
              <a:t>aggiornamento delle competenze</a:t>
            </a:r>
            <a:r>
              <a:rPr lang="it-IT" sz="2000" dirty="0">
                <a:solidFill>
                  <a:srgbClr val="001E60"/>
                </a:solidFill>
                <a:latin typeface="Source Sans Pro (Corpo)"/>
                <a:ea typeface="MS PGothic" pitchFamily="34" charset="-128"/>
              </a:rPr>
              <a:t> della forza lavoro (</a:t>
            </a:r>
            <a:r>
              <a:rPr lang="it-IT" sz="2000" i="1" dirty="0" err="1">
                <a:solidFill>
                  <a:srgbClr val="001E60"/>
                </a:solidFill>
                <a:latin typeface="Source Sans Pro (Corpo)"/>
                <a:ea typeface="MS PGothic" pitchFamily="34" charset="-128"/>
              </a:rPr>
              <a:t>reskill</a:t>
            </a:r>
            <a:r>
              <a:rPr lang="it-IT" sz="2000" i="1" dirty="0">
                <a:solidFill>
                  <a:srgbClr val="001E60"/>
                </a:solidFill>
                <a:latin typeface="Source Sans Pro (Corpo)"/>
                <a:ea typeface="MS PGothic" pitchFamily="34" charset="-128"/>
              </a:rPr>
              <a:t> </a:t>
            </a:r>
            <a:r>
              <a:rPr lang="it-IT" sz="2000" dirty="0">
                <a:solidFill>
                  <a:srgbClr val="001E60"/>
                </a:solidFill>
                <a:latin typeface="Source Sans Pro (Corpo)"/>
                <a:ea typeface="MS PGothic" pitchFamily="34" charset="-128"/>
              </a:rPr>
              <a:t>e</a:t>
            </a:r>
            <a:r>
              <a:rPr lang="it-IT" sz="2000" i="1" dirty="0">
                <a:solidFill>
                  <a:srgbClr val="001E60"/>
                </a:solidFill>
                <a:latin typeface="Source Sans Pro (Corpo)"/>
                <a:ea typeface="MS PGothic" pitchFamily="34" charset="-128"/>
              </a:rPr>
              <a:t> </a:t>
            </a:r>
            <a:r>
              <a:rPr lang="it-IT" sz="2000" i="1" dirty="0" err="1">
                <a:solidFill>
                  <a:srgbClr val="001E60"/>
                </a:solidFill>
                <a:latin typeface="Source Sans Pro (Corpo)"/>
                <a:ea typeface="MS PGothic" pitchFamily="34" charset="-128"/>
              </a:rPr>
              <a:t>upskill</a:t>
            </a:r>
            <a:r>
              <a:rPr lang="it-IT" sz="2000" dirty="0">
                <a:solidFill>
                  <a:srgbClr val="001E60"/>
                </a:solidFill>
                <a:latin typeface="Source Sans Pro (Corpo)"/>
                <a:ea typeface="MS PGothic" pitchFamily="34" charset="-128"/>
              </a:rPr>
              <a:t>)</a:t>
            </a:r>
          </a:p>
        </p:txBody>
      </p:sp>
      <p:sp>
        <p:nvSpPr>
          <p:cNvPr id="6" name="Rettangolo 5">
            <a:extLst>
              <a:ext uri="{FF2B5EF4-FFF2-40B4-BE49-F238E27FC236}">
                <a16:creationId xmlns:a16="http://schemas.microsoft.com/office/drawing/2014/main" id="{93DA94D6-9D63-B27E-7B2A-629CB5A7F671}"/>
              </a:ext>
            </a:extLst>
          </p:cNvPr>
          <p:cNvSpPr/>
          <p:nvPr/>
        </p:nvSpPr>
        <p:spPr>
          <a:xfrm>
            <a:off x="6511993" y="1252346"/>
            <a:ext cx="4975708" cy="1470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defTabSz="1219185">
              <a:spcBef>
                <a:spcPts val="1200"/>
              </a:spcBef>
              <a:spcAft>
                <a:spcPts val="1200"/>
              </a:spcAft>
              <a:buClr>
                <a:srgbClr val="F47B20"/>
              </a:buClr>
              <a:defRPr/>
            </a:pPr>
            <a:r>
              <a:rPr lang="it-IT" sz="2800" b="1" dirty="0">
                <a:solidFill>
                  <a:srgbClr val="F47B20"/>
                </a:solidFill>
                <a:latin typeface="Source Sans Pro (Corpo)"/>
                <a:ea typeface="MS PGothic" pitchFamily="34" charset="-128"/>
              </a:rPr>
              <a:t>6,6 strumenti o soluzioni ICT </a:t>
            </a:r>
            <a:br>
              <a:rPr lang="it-IT" sz="2800" b="1" dirty="0">
                <a:solidFill>
                  <a:srgbClr val="F47B20"/>
                </a:solidFill>
                <a:latin typeface="Source Sans Pro (Corpo)"/>
                <a:ea typeface="MS PGothic" pitchFamily="34" charset="-128"/>
              </a:rPr>
            </a:br>
            <a:r>
              <a:rPr lang="it-IT" sz="2000" dirty="0">
                <a:solidFill>
                  <a:srgbClr val="001E60"/>
                </a:solidFill>
                <a:latin typeface="Source Sans Pro (Corpo)"/>
                <a:ea typeface="MS PGothic" pitchFamily="34" charset="-128"/>
              </a:rPr>
              <a:t>possedute in media per azienda in Toscana (vs. 6,4 media Italia)</a:t>
            </a:r>
          </a:p>
        </p:txBody>
      </p:sp>
      <p:sp>
        <p:nvSpPr>
          <p:cNvPr id="7" name="Rettangolo 6">
            <a:extLst>
              <a:ext uri="{FF2B5EF4-FFF2-40B4-BE49-F238E27FC236}">
                <a16:creationId xmlns:a16="http://schemas.microsoft.com/office/drawing/2014/main" id="{85FA88EA-8B33-2756-D3C8-98A089D6928C}"/>
              </a:ext>
            </a:extLst>
          </p:cNvPr>
          <p:cNvSpPr/>
          <p:nvPr/>
        </p:nvSpPr>
        <p:spPr>
          <a:xfrm>
            <a:off x="681591" y="2844766"/>
            <a:ext cx="4428000" cy="17614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defTabSz="1219185">
              <a:spcBef>
                <a:spcPts val="1200"/>
              </a:spcBef>
              <a:spcAft>
                <a:spcPts val="1200"/>
              </a:spcAft>
              <a:buClr>
                <a:srgbClr val="F47B20"/>
              </a:buClr>
              <a:defRPr/>
            </a:pPr>
            <a:r>
              <a:rPr lang="it-IT" sz="2800" b="1" dirty="0">
                <a:solidFill>
                  <a:srgbClr val="F47B20"/>
                </a:solidFill>
                <a:latin typeface="Source Sans Pro (Corpo)"/>
                <a:ea typeface="MS PGothic" pitchFamily="34" charset="-128"/>
              </a:rPr>
              <a:t>4,5 % </a:t>
            </a:r>
            <a:br>
              <a:rPr lang="it-IT" sz="2800" b="1" dirty="0">
                <a:solidFill>
                  <a:srgbClr val="F47B20"/>
                </a:solidFill>
                <a:latin typeface="Source Sans Pro (Corpo)"/>
                <a:ea typeface="MS PGothic" pitchFamily="34" charset="-128"/>
              </a:rPr>
            </a:br>
            <a:r>
              <a:rPr lang="it-IT" sz="2000" dirty="0">
                <a:solidFill>
                  <a:srgbClr val="001E60"/>
                </a:solidFill>
                <a:latin typeface="Source Sans Pro (Corpo)"/>
                <a:ea typeface="MS PGothic" pitchFamily="34" charset="-128"/>
              </a:rPr>
              <a:t>delle imprese toscane adotta</a:t>
            </a:r>
            <a:r>
              <a:rPr lang="it-IT" sz="2000" b="1" dirty="0">
                <a:solidFill>
                  <a:srgbClr val="001E60"/>
                </a:solidFill>
                <a:latin typeface="Source Sans Pro (Corpo)"/>
                <a:ea typeface="MS PGothic" pitchFamily="34" charset="-128"/>
              </a:rPr>
              <a:t> tecnologie emergenti </a:t>
            </a:r>
            <a:r>
              <a:rPr lang="it-IT" sz="2000" dirty="0">
                <a:solidFill>
                  <a:srgbClr val="001E60"/>
                </a:solidFill>
                <a:latin typeface="Source Sans Pro (Corpo)"/>
                <a:ea typeface="MS PGothic" pitchFamily="34" charset="-128"/>
              </a:rPr>
              <a:t>(es. IA, IoT, robotica e </a:t>
            </a:r>
            <a:r>
              <a:rPr lang="it-IT" sz="2000" i="1" dirty="0">
                <a:solidFill>
                  <a:srgbClr val="001E60"/>
                </a:solidFill>
                <a:latin typeface="Source Sans Pro (Corpo)"/>
                <a:ea typeface="MS PGothic" pitchFamily="34" charset="-128"/>
              </a:rPr>
              <a:t>blockchain</a:t>
            </a:r>
            <a:r>
              <a:rPr lang="it-IT" sz="2000" dirty="0">
                <a:solidFill>
                  <a:srgbClr val="001E60"/>
                </a:solidFill>
                <a:latin typeface="Source Sans Pro (Corpo)"/>
                <a:ea typeface="MS PGothic" pitchFamily="34" charset="-128"/>
              </a:rPr>
              <a:t>), in linea con la media nazionale del 4%</a:t>
            </a:r>
          </a:p>
        </p:txBody>
      </p:sp>
      <p:sp>
        <p:nvSpPr>
          <p:cNvPr id="11" name="Rettangolo 10">
            <a:extLst>
              <a:ext uri="{FF2B5EF4-FFF2-40B4-BE49-F238E27FC236}">
                <a16:creationId xmlns:a16="http://schemas.microsoft.com/office/drawing/2014/main" id="{035F0AA7-475B-EEE5-3165-86B913CF3808}"/>
              </a:ext>
            </a:extLst>
          </p:cNvPr>
          <p:cNvSpPr/>
          <p:nvPr/>
        </p:nvSpPr>
        <p:spPr>
          <a:xfrm>
            <a:off x="6207221" y="2662800"/>
            <a:ext cx="5585253" cy="19434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defTabSz="1219185">
              <a:spcBef>
                <a:spcPts val="1200"/>
              </a:spcBef>
              <a:spcAft>
                <a:spcPts val="1200"/>
              </a:spcAft>
              <a:buClr>
                <a:srgbClr val="F47B20"/>
              </a:buClr>
              <a:defRPr/>
            </a:pPr>
            <a:r>
              <a:rPr lang="it-IT" sz="2800" b="1" dirty="0">
                <a:solidFill>
                  <a:srgbClr val="F47B20"/>
                </a:solidFill>
                <a:latin typeface="Source Sans Pro (Corpo)"/>
                <a:ea typeface="MS PGothic" pitchFamily="34" charset="-128"/>
              </a:rPr>
              <a:t>20,2 % </a:t>
            </a:r>
            <a:br>
              <a:rPr lang="it-IT" sz="2800" b="1" dirty="0">
                <a:solidFill>
                  <a:srgbClr val="F47B20"/>
                </a:solidFill>
                <a:latin typeface="Source Sans Pro (Corpo)"/>
                <a:ea typeface="MS PGothic" pitchFamily="34" charset="-128"/>
              </a:rPr>
            </a:br>
            <a:r>
              <a:rPr lang="it-IT" sz="2000" dirty="0">
                <a:solidFill>
                  <a:srgbClr val="001E60"/>
                </a:solidFill>
                <a:latin typeface="Source Sans Pro (Corpo)"/>
                <a:ea typeface="MS PGothic" pitchFamily="34" charset="-128"/>
              </a:rPr>
              <a:t>delle aziende toscane dichiara di voler investire in processi digitali per </a:t>
            </a:r>
            <a:r>
              <a:rPr lang="it-IT" sz="2000" b="1" dirty="0">
                <a:solidFill>
                  <a:srgbClr val="001E60"/>
                </a:solidFill>
                <a:latin typeface="Source Sans Pro (Corpo)"/>
                <a:ea typeface="MS PGothic" pitchFamily="34" charset="-128"/>
              </a:rPr>
              <a:t>ridurre l’impatto ambientale e migliorare le prestazioni operative </a:t>
            </a:r>
            <a:br>
              <a:rPr lang="it-IT" sz="2000" b="1" dirty="0">
                <a:solidFill>
                  <a:srgbClr val="001E60"/>
                </a:solidFill>
                <a:latin typeface="Source Sans Pro (Corpo)"/>
                <a:ea typeface="MS PGothic" pitchFamily="34" charset="-128"/>
              </a:rPr>
            </a:br>
            <a:r>
              <a:rPr lang="it-IT" sz="2000" dirty="0">
                <a:solidFill>
                  <a:srgbClr val="001E60"/>
                </a:solidFill>
                <a:latin typeface="Source Sans Pro (Corpo)"/>
                <a:ea typeface="MS PGothic" pitchFamily="34" charset="-128"/>
              </a:rPr>
              <a:t>(vs. 16,5% media Italia)</a:t>
            </a:r>
          </a:p>
        </p:txBody>
      </p:sp>
      <p:sp>
        <p:nvSpPr>
          <p:cNvPr id="13" name="CasellaDiTesto 12">
            <a:extLst>
              <a:ext uri="{FF2B5EF4-FFF2-40B4-BE49-F238E27FC236}">
                <a16:creationId xmlns:a16="http://schemas.microsoft.com/office/drawing/2014/main" id="{6440C891-9E70-18FC-838C-93058AB706C2}"/>
              </a:ext>
            </a:extLst>
          </p:cNvPr>
          <p:cNvSpPr txBox="1"/>
          <p:nvPr/>
        </p:nvSpPr>
        <p:spPr>
          <a:xfrm>
            <a:off x="1569954" y="6289306"/>
            <a:ext cx="6140302" cy="258532"/>
          </a:xfrm>
          <a:prstGeom prst="rect">
            <a:avLst/>
          </a:prstGeom>
        </p:spPr>
        <p:txBody>
          <a:bodyPr/>
          <a:lstStyle>
            <a:lvl1pPr indent="0">
              <a:lnSpc>
                <a:spcPct val="90000"/>
              </a:lnSpc>
              <a:spcBef>
                <a:spcPts val="1000"/>
              </a:spcBef>
              <a:buFont typeface="Arial" panose="020B0604020202020204" pitchFamily="34" charset="0"/>
              <a:buNone/>
              <a:defRPr sz="1200">
                <a:solidFill>
                  <a:schemeClr val="bg1">
                    <a:lumMod val="50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it-IT" dirty="0"/>
              <a:t>(*) Scienza, tecnologia, ingegneria e matematica.</a:t>
            </a:r>
          </a:p>
        </p:txBody>
      </p:sp>
      <p:grpSp>
        <p:nvGrpSpPr>
          <p:cNvPr id="14" name="Gruppo 13">
            <a:extLst>
              <a:ext uri="{FF2B5EF4-FFF2-40B4-BE49-F238E27FC236}">
                <a16:creationId xmlns:a16="http://schemas.microsoft.com/office/drawing/2014/main" id="{0EAA5261-DED8-54F4-FFEB-6D29297CE1ED}"/>
              </a:ext>
            </a:extLst>
          </p:cNvPr>
          <p:cNvGrpSpPr>
            <a:grpSpLocks noChangeAspect="1"/>
          </p:cNvGrpSpPr>
          <p:nvPr/>
        </p:nvGrpSpPr>
        <p:grpSpPr>
          <a:xfrm>
            <a:off x="11613358" y="725368"/>
            <a:ext cx="396000" cy="395093"/>
            <a:chOff x="4769033" y="2450101"/>
            <a:chExt cx="2450649" cy="2445035"/>
          </a:xfrm>
        </p:grpSpPr>
        <p:sp>
          <p:nvSpPr>
            <p:cNvPr id="15" name="Oval 47">
              <a:extLst>
                <a:ext uri="{FF2B5EF4-FFF2-40B4-BE49-F238E27FC236}">
                  <a16:creationId xmlns:a16="http://schemas.microsoft.com/office/drawing/2014/main" id="{E35D0CF0-3029-69E3-96CE-32956C5B14A7}"/>
                </a:ext>
              </a:extLst>
            </p:cNvPr>
            <p:cNvSpPr>
              <a:spLocks noChangeArrowheads="1"/>
            </p:cNvSpPr>
            <p:nvPr/>
          </p:nvSpPr>
          <p:spPr bwMode="auto">
            <a:xfrm>
              <a:off x="4769033" y="2450101"/>
              <a:ext cx="2450649" cy="2445035"/>
            </a:xfrm>
            <a:prstGeom prst="ellipse">
              <a:avLst/>
            </a:prstGeom>
            <a:solidFill>
              <a:schemeClr val="bg1"/>
            </a:solidFill>
            <a:ln w="19050" algn="ctr">
              <a:solidFill>
                <a:srgbClr val="F47B20"/>
              </a:solidFill>
              <a:round/>
              <a:headEnd/>
              <a:tailEnd/>
            </a:ln>
          </p:spPr>
          <p:txBody>
            <a:bodyPr wrap="none" tIns="0" anchor="ctr"/>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marL="1828800" indent="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86000" indent="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743200" indent="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200400" indent="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11">
                <a:defRPr/>
              </a:pPr>
              <a:endParaRPr lang="en-US" altLang="en-US" sz="1051">
                <a:solidFill>
                  <a:srgbClr val="4B7942"/>
                </a:solidFill>
                <a:latin typeface="Univers LT 47 CondensedLt" panose="02000406040000020003" pitchFamily="2" charset="0"/>
              </a:endParaRPr>
            </a:p>
          </p:txBody>
        </p:sp>
        <p:sp>
          <p:nvSpPr>
            <p:cNvPr id="16" name="Freeform 74">
              <a:extLst>
                <a:ext uri="{FF2B5EF4-FFF2-40B4-BE49-F238E27FC236}">
                  <a16:creationId xmlns:a16="http://schemas.microsoft.com/office/drawing/2014/main" id="{DF3B34F2-C3F8-68FA-FD05-285650EF3E3D}"/>
                </a:ext>
              </a:extLst>
            </p:cNvPr>
            <p:cNvSpPr>
              <a:spLocks noChangeArrowheads="1"/>
            </p:cNvSpPr>
            <p:nvPr/>
          </p:nvSpPr>
          <p:spPr bwMode="auto">
            <a:xfrm>
              <a:off x="5104710" y="2769718"/>
              <a:ext cx="1906779" cy="1951245"/>
            </a:xfrm>
            <a:custGeom>
              <a:avLst/>
              <a:gdLst>
                <a:gd name="T0" fmla="*/ 2247 w 4425"/>
                <a:gd name="T1" fmla="*/ 842 h 4627"/>
                <a:gd name="T2" fmla="*/ 2031 w 4425"/>
                <a:gd name="T3" fmla="*/ 904 h 4627"/>
                <a:gd name="T4" fmla="*/ 1899 w 4425"/>
                <a:gd name="T5" fmla="*/ 793 h 4627"/>
                <a:gd name="T6" fmla="*/ 1579 w 4425"/>
                <a:gd name="T7" fmla="*/ 696 h 4627"/>
                <a:gd name="T8" fmla="*/ 1474 w 4425"/>
                <a:gd name="T9" fmla="*/ 758 h 4627"/>
                <a:gd name="T10" fmla="*/ 1335 w 4425"/>
                <a:gd name="T11" fmla="*/ 564 h 4627"/>
                <a:gd name="T12" fmla="*/ 1099 w 4425"/>
                <a:gd name="T13" fmla="val 41358"/>
                <a:gd name="T14" fmla="*/ 841 w 4425"/>
                <a:gd name="T15" fmla="*/ 348 h 4627"/>
                <a:gd name="T16" fmla="*/ 598 w 4425"/>
                <a:gd name="T17" fmla="*/ 223 h 4627"/>
                <a:gd name="T18" fmla="*/ 466 w 4425"/>
                <a:gd name="T19" fmla="*/ 28 h 4627"/>
                <a:gd name="T20" fmla="*/ 118 w 4425"/>
                <a:gd name="T21" fmla="*/ 188 h 4627"/>
                <a:gd name="T22" fmla="*/ 69 w 4425"/>
                <a:gd name="T23" fmla="*/ 320 h 4627"/>
                <a:gd name="T24" fmla="*/ 278 w 4425"/>
                <a:gd name="T25" fmla="*/ 452 h 4627"/>
                <a:gd name="T26" fmla="*/ 333 w 4425"/>
                <a:gd name="T27" fmla="*/ 584 h 4627"/>
                <a:gd name="T28" fmla="*/ 347 w 4425"/>
                <a:gd name="T29" fmla="*/ 682 h 4627"/>
                <a:gd name="T30" fmla="*/ 487 w 4425"/>
                <a:gd name="T31" fmla="*/ 828 h 4627"/>
                <a:gd name="T32" fmla="*/ 563 w 4425"/>
                <a:gd name="T33" fmla="*/ 904 h 4627"/>
                <a:gd name="T34" fmla="*/ 814 w 4425"/>
                <a:gd name="T35" fmla="*/ 1169 h 4627"/>
                <a:gd name="T36" fmla="*/ 966 w 4425"/>
                <a:gd name="T37" fmla="*/ 1579 h 4627"/>
                <a:gd name="T38" fmla="*/ 1043 w 4425"/>
                <a:gd name="T39" fmla="*/ 2136 h 4627"/>
                <a:gd name="T40" fmla="*/ 1217 w 4425"/>
                <a:gd name="T41" fmla="*/ 2365 h 4627"/>
                <a:gd name="T42" fmla="*/ 1405 w 4425"/>
                <a:gd name="T43" fmla="*/ 2984 h 4627"/>
                <a:gd name="T44" fmla="*/ 1342 w 4425"/>
                <a:gd name="T45" fmla="*/ 3381 h 4627"/>
                <a:gd name="T46" fmla="*/ 1739 w 4425"/>
                <a:gd name="T47" fmla="*/ 3388 h 4627"/>
                <a:gd name="T48" fmla="*/ 1739 w 4425"/>
                <a:gd name="T49" fmla="*/ 3652 h 4627"/>
                <a:gd name="T50" fmla="*/ 2184 w 4425"/>
                <a:gd name="T51" fmla="*/ 3993 h 4627"/>
                <a:gd name="T52" fmla="*/ 2421 w 4425"/>
                <a:gd name="T53" fmla="*/ 4188 h 4627"/>
                <a:gd name="T54" fmla="*/ 2316 w 4425"/>
                <a:gd name="T55" fmla="*/ 4487 h 4627"/>
                <a:gd name="T56" fmla="*/ 2476 w 4425"/>
                <a:gd name="T57" fmla="*/ 4626 h 4627"/>
                <a:gd name="T58" fmla="*/ 2615 w 4425"/>
                <a:gd name="T59" fmla="*/ 4501 h 4627"/>
                <a:gd name="T60" fmla="*/ 2970 w 4425"/>
                <a:gd name="T61" fmla="*/ 4459 h 4627"/>
                <a:gd name="T62" fmla="*/ 3109 w 4425"/>
                <a:gd name="T63" fmla="*/ 4299 h 4627"/>
                <a:gd name="T64" fmla="*/ 3179 w 4425"/>
                <a:gd name="T65" fmla="*/ 4195 h 4627"/>
                <a:gd name="T66" fmla="*/ 3339 w 4425"/>
                <a:gd name="T67" fmla="*/ 4090 h 4627"/>
                <a:gd name="T68" fmla="*/ 3492 w 4425"/>
                <a:gd name="T69" fmla="*/ 4007 h 4627"/>
                <a:gd name="T70" fmla="*/ 3513 w 4425"/>
                <a:gd name="T71" fmla="*/ 3791 h 4627"/>
                <a:gd name="T72" fmla="*/ 3443 w 4425"/>
                <a:gd name="T73" fmla="*/ 3617 h 4627"/>
                <a:gd name="T74" fmla="*/ 3631 w 4425"/>
                <a:gd name="T75" fmla="*/ 3576 h 4627"/>
                <a:gd name="T76" fmla="*/ 3728 w 4425"/>
                <a:gd name="T77" fmla="*/ 3443 h 4627"/>
                <a:gd name="T78" fmla="*/ 3784 w 4425"/>
                <a:gd name="T79" fmla="*/ 3109 h 4627"/>
                <a:gd name="T80" fmla="*/ 3687 w 4425"/>
                <a:gd name="T81" fmla="*/ 2915 h 4627"/>
                <a:gd name="T82" fmla="*/ 3902 w 4425"/>
                <a:gd name="T83" fmla="*/ 2685 h 4627"/>
                <a:gd name="T84" fmla="*/ 4181 w 4425"/>
                <a:gd name="T85" fmla="*/ 2588 h 4627"/>
                <a:gd name="T86" fmla="*/ 4035 w 4425"/>
                <a:gd name="T87" fmla="*/ 2483 h 4627"/>
                <a:gd name="T88" fmla="*/ 3854 w 4425"/>
                <a:gd name="T89" fmla="*/ 2323 h 4627"/>
                <a:gd name="T90" fmla="*/ 4048 w 4425"/>
                <a:gd name="T91" fmla="*/ 2184 h 4627"/>
                <a:gd name="T92" fmla="*/ 4090 w 4425"/>
                <a:gd name="T93" fmla="*/ 1990 h 4627"/>
                <a:gd name="T94" fmla="*/ 4215 w 4425"/>
                <a:gd name="T95" fmla="*/ 1732 h 4627"/>
                <a:gd name="T96" fmla="*/ 4361 w 4425"/>
                <a:gd name="T97" fmla="*/ 1677 h 4627"/>
                <a:gd name="T98" fmla="*/ 4278 w 4425"/>
                <a:gd name="T99" fmla="*/ 1551 h 4627"/>
                <a:gd name="T100" fmla="*/ 4083 w 4425"/>
                <a:gd name="T101" fmla="*/ 1565 h 4627"/>
                <a:gd name="T102" fmla="*/ 3833 w 4425"/>
                <a:gd name="T103" fmla="*/ 1565 h 4627"/>
                <a:gd name="T104" fmla="*/ 3603 w 4425"/>
                <a:gd name="T105" fmla="*/ 1447 h 4627"/>
                <a:gd name="T106" fmla="*/ 3339 w 4425"/>
                <a:gd name="T107" fmla="*/ 1308 h 4627"/>
                <a:gd name="T108" fmla="*/ 3228 w 4425"/>
                <a:gd name="T109" fmla="*/ 1050 h 4627"/>
                <a:gd name="T110" fmla="*/ 3367 w 4425"/>
                <a:gd name="T111" fmla="*/ 856 h 4627"/>
                <a:gd name="T112" fmla="*/ 3248 w 4425"/>
                <a:gd name="T113" fmla="*/ 807 h 4627"/>
                <a:gd name="T114" fmla="*/ 3179 w 4425"/>
                <a:gd name="T115" fmla="*/ 724 h 4627"/>
                <a:gd name="T116" fmla="*/ 3019 w 4425"/>
                <a:gd name="T117" fmla="*/ 696 h 4627"/>
                <a:gd name="T118" fmla="*/ 2866 w 4425"/>
                <a:gd name="T119" fmla="*/ 522 h 4627"/>
                <a:gd name="T120" fmla="*/ 2650 w 4425"/>
                <a:gd name="T121" fmla="*/ 661 h 4627"/>
                <a:gd name="T122" fmla="*/ 2594 w 4425"/>
                <a:gd name="T123" fmla="*/ 814 h 4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25" h="4627">
                  <a:moveTo>
                    <a:pt x="2490" y="821"/>
                  </a:moveTo>
                  <a:lnTo>
                    <a:pt x="2483" y="814"/>
                  </a:lnTo>
                  <a:lnTo>
                    <a:pt x="2379" y="793"/>
                  </a:lnTo>
                  <a:lnTo>
                    <a:pt x="2323" y="828"/>
                  </a:lnTo>
                  <a:lnTo>
                    <a:pt x="2316" y="842"/>
                  </a:lnTo>
                  <a:lnTo>
                    <a:pt x="2247" y="842"/>
                  </a:lnTo>
                  <a:lnTo>
                    <a:pt x="2219" y="828"/>
                  </a:lnTo>
                  <a:lnTo>
                    <a:pt x="2170" y="807"/>
                  </a:lnTo>
                  <a:lnTo>
                    <a:pt x="2191" y="751"/>
                  </a:lnTo>
                  <a:lnTo>
                    <a:pt x="2170" y="730"/>
                  </a:lnTo>
                  <a:lnTo>
                    <a:pt x="2115" y="807"/>
                  </a:lnTo>
                  <a:lnTo>
                    <a:pt x="2031" y="904"/>
                  </a:lnTo>
                  <a:lnTo>
                    <a:pt x="2003" y="904"/>
                  </a:lnTo>
                  <a:lnTo>
                    <a:pt x="2003" y="863"/>
                  </a:lnTo>
                  <a:lnTo>
                    <a:pt x="1968" y="821"/>
                  </a:lnTo>
                  <a:lnTo>
                    <a:pt x="1940" y="821"/>
                  </a:lnTo>
                  <a:lnTo>
                    <a:pt x="1927" y="821"/>
                  </a:lnTo>
                  <a:lnTo>
                    <a:pt x="1899" y="793"/>
                  </a:lnTo>
                  <a:lnTo>
                    <a:pt x="1864" y="786"/>
                  </a:lnTo>
                  <a:lnTo>
                    <a:pt x="1801" y="751"/>
                  </a:lnTo>
                  <a:lnTo>
                    <a:pt x="1767" y="710"/>
                  </a:lnTo>
                  <a:lnTo>
                    <a:pt x="1690" y="696"/>
                  </a:lnTo>
                  <a:lnTo>
                    <a:pt x="1634" y="696"/>
                  </a:lnTo>
                  <a:lnTo>
                    <a:pt x="1579" y="696"/>
                  </a:lnTo>
                  <a:lnTo>
                    <a:pt x="1544" y="724"/>
                  </a:lnTo>
                  <a:lnTo>
                    <a:pt x="1544" y="765"/>
                  </a:lnTo>
                  <a:lnTo>
                    <a:pt x="1544" y="779"/>
                  </a:lnTo>
                  <a:lnTo>
                    <a:pt x="1523" y="779"/>
                  </a:lnTo>
                  <a:lnTo>
                    <a:pt x="1474" y="779"/>
                  </a:lnTo>
                  <a:lnTo>
                    <a:pt x="1474" y="758"/>
                  </a:lnTo>
                  <a:lnTo>
                    <a:pt x="1384" y="696"/>
                  </a:lnTo>
                  <a:lnTo>
                    <a:pt x="1377" y="682"/>
                  </a:lnTo>
                  <a:lnTo>
                    <a:pt x="1377" y="654"/>
                  </a:lnTo>
                  <a:lnTo>
                    <a:pt x="1349" y="626"/>
                  </a:lnTo>
                  <a:lnTo>
                    <a:pt x="1328" y="612"/>
                  </a:lnTo>
                  <a:lnTo>
                    <a:pt x="1335" y="564"/>
                  </a:lnTo>
                  <a:lnTo>
                    <a:pt x="1294" y="536"/>
                  </a:lnTo>
                  <a:lnTo>
                    <a:pt x="1238" y="536"/>
                  </a:lnTo>
                  <a:lnTo>
                    <a:pt x="1203" y="522"/>
                  </a:lnTo>
                  <a:lnTo>
                    <a:pt x="1182" y="494"/>
                  </a:lnTo>
                  <a:lnTo>
                    <a:pt x="1141" y="459"/>
                  </a:lnTo>
                  <a:lnTo>
                    <a:pt x="1099" y="445"/>
                  </a:lnTo>
                  <a:lnTo>
                    <a:pt x="1008" y="403"/>
                  </a:lnTo>
                  <a:lnTo>
                    <a:pt x="939" y="452"/>
                  </a:lnTo>
                  <a:lnTo>
                    <a:pt x="904" y="397"/>
                  </a:lnTo>
                  <a:lnTo>
                    <a:pt x="876" y="369"/>
                  </a:lnTo>
                  <a:lnTo>
                    <a:pt x="848" y="355"/>
                  </a:lnTo>
                  <a:lnTo>
                    <a:pt x="841" y="348"/>
                  </a:lnTo>
                  <a:lnTo>
                    <a:pt x="834" y="334"/>
                  </a:lnTo>
                  <a:lnTo>
                    <a:pt x="786" y="299"/>
                  </a:lnTo>
                  <a:lnTo>
                    <a:pt x="751" y="264"/>
                  </a:lnTo>
                  <a:lnTo>
                    <a:pt x="681" y="271"/>
                  </a:lnTo>
                  <a:lnTo>
                    <a:pt x="647" y="257"/>
                  </a:lnTo>
                  <a:lnTo>
                    <a:pt x="598" y="223"/>
                  </a:lnTo>
                  <a:lnTo>
                    <a:pt x="542" y="195"/>
                  </a:lnTo>
                  <a:lnTo>
                    <a:pt x="493" y="153"/>
                  </a:lnTo>
                  <a:lnTo>
                    <a:pt x="521" y="76"/>
                  </a:lnTo>
                  <a:lnTo>
                    <a:pt x="493" y="63"/>
                  </a:lnTo>
                  <a:lnTo>
                    <a:pt x="466" y="42"/>
                  </a:lnTo>
                  <a:lnTo>
                    <a:pt x="466" y="28"/>
                  </a:lnTo>
                  <a:lnTo>
                    <a:pt x="382" y="0"/>
                  </a:lnTo>
                  <a:lnTo>
                    <a:pt x="347" y="0"/>
                  </a:lnTo>
                  <a:lnTo>
                    <a:pt x="222" y="7"/>
                  </a:lnTo>
                  <a:lnTo>
                    <a:pt x="215" y="42"/>
                  </a:lnTo>
                  <a:lnTo>
                    <a:pt x="118" y="153"/>
                  </a:lnTo>
                  <a:lnTo>
                    <a:pt x="118" y="188"/>
                  </a:lnTo>
                  <a:lnTo>
                    <a:pt x="97" y="188"/>
                  </a:lnTo>
                  <a:lnTo>
                    <a:pt x="90" y="202"/>
                  </a:lnTo>
                  <a:lnTo>
                    <a:pt x="62" y="202"/>
                  </a:lnTo>
                  <a:lnTo>
                    <a:pt x="0" y="230"/>
                  </a:lnTo>
                  <a:lnTo>
                    <a:pt x="34" y="237"/>
                  </a:lnTo>
                  <a:lnTo>
                    <a:pt x="69" y="320"/>
                  </a:lnTo>
                  <a:lnTo>
                    <a:pt x="118" y="348"/>
                  </a:lnTo>
                  <a:lnTo>
                    <a:pt x="160" y="390"/>
                  </a:lnTo>
                  <a:lnTo>
                    <a:pt x="201" y="417"/>
                  </a:lnTo>
                  <a:lnTo>
                    <a:pt x="215" y="417"/>
                  </a:lnTo>
                  <a:lnTo>
                    <a:pt x="222" y="424"/>
                  </a:lnTo>
                  <a:lnTo>
                    <a:pt x="278" y="452"/>
                  </a:lnTo>
                  <a:lnTo>
                    <a:pt x="292" y="536"/>
                  </a:lnTo>
                  <a:lnTo>
                    <a:pt x="313" y="549"/>
                  </a:lnTo>
                  <a:lnTo>
                    <a:pt x="285" y="612"/>
                  </a:lnTo>
                  <a:lnTo>
                    <a:pt x="292" y="647"/>
                  </a:lnTo>
                  <a:lnTo>
                    <a:pt x="326" y="591"/>
                  </a:lnTo>
                  <a:lnTo>
                    <a:pt x="333" y="584"/>
                  </a:lnTo>
                  <a:lnTo>
                    <a:pt x="361" y="577"/>
                  </a:lnTo>
                  <a:lnTo>
                    <a:pt x="389" y="598"/>
                  </a:lnTo>
                  <a:lnTo>
                    <a:pt x="410" y="612"/>
                  </a:lnTo>
                  <a:lnTo>
                    <a:pt x="396" y="612"/>
                  </a:lnTo>
                  <a:lnTo>
                    <a:pt x="347" y="661"/>
                  </a:lnTo>
                  <a:lnTo>
                    <a:pt x="347" y="682"/>
                  </a:lnTo>
                  <a:lnTo>
                    <a:pt x="396" y="675"/>
                  </a:lnTo>
                  <a:lnTo>
                    <a:pt x="452" y="675"/>
                  </a:lnTo>
                  <a:lnTo>
                    <a:pt x="480" y="689"/>
                  </a:lnTo>
                  <a:lnTo>
                    <a:pt x="487" y="765"/>
                  </a:lnTo>
                  <a:lnTo>
                    <a:pt x="507" y="793"/>
                  </a:lnTo>
                  <a:lnTo>
                    <a:pt x="487" y="828"/>
                  </a:lnTo>
                  <a:lnTo>
                    <a:pt x="507" y="842"/>
                  </a:lnTo>
                  <a:lnTo>
                    <a:pt x="542" y="779"/>
                  </a:lnTo>
                  <a:lnTo>
                    <a:pt x="591" y="786"/>
                  </a:lnTo>
                  <a:lnTo>
                    <a:pt x="626" y="821"/>
                  </a:lnTo>
                  <a:lnTo>
                    <a:pt x="626" y="849"/>
                  </a:lnTo>
                  <a:lnTo>
                    <a:pt x="563" y="904"/>
                  </a:lnTo>
                  <a:lnTo>
                    <a:pt x="549" y="939"/>
                  </a:lnTo>
                  <a:lnTo>
                    <a:pt x="549" y="946"/>
                  </a:lnTo>
                  <a:lnTo>
                    <a:pt x="619" y="974"/>
                  </a:lnTo>
                  <a:lnTo>
                    <a:pt x="744" y="1078"/>
                  </a:lnTo>
                  <a:lnTo>
                    <a:pt x="751" y="1092"/>
                  </a:lnTo>
                  <a:lnTo>
                    <a:pt x="814" y="1169"/>
                  </a:lnTo>
                  <a:lnTo>
                    <a:pt x="869" y="1238"/>
                  </a:lnTo>
                  <a:lnTo>
                    <a:pt x="890" y="1287"/>
                  </a:lnTo>
                  <a:lnTo>
                    <a:pt x="918" y="1343"/>
                  </a:lnTo>
                  <a:lnTo>
                    <a:pt x="946" y="1447"/>
                  </a:lnTo>
                  <a:lnTo>
                    <a:pt x="953" y="1516"/>
                  </a:lnTo>
                  <a:lnTo>
                    <a:pt x="966" y="1579"/>
                  </a:lnTo>
                  <a:lnTo>
                    <a:pt x="981" y="1725"/>
                  </a:lnTo>
                  <a:lnTo>
                    <a:pt x="966" y="1739"/>
                  </a:lnTo>
                  <a:lnTo>
                    <a:pt x="1008" y="1962"/>
                  </a:lnTo>
                  <a:lnTo>
                    <a:pt x="1008" y="2010"/>
                  </a:lnTo>
                  <a:lnTo>
                    <a:pt x="1015" y="2066"/>
                  </a:lnTo>
                  <a:lnTo>
                    <a:pt x="1043" y="2136"/>
                  </a:lnTo>
                  <a:lnTo>
                    <a:pt x="1064" y="2191"/>
                  </a:lnTo>
                  <a:lnTo>
                    <a:pt x="1099" y="2219"/>
                  </a:lnTo>
                  <a:lnTo>
                    <a:pt x="1141" y="2254"/>
                  </a:lnTo>
                  <a:lnTo>
                    <a:pt x="1182" y="2337"/>
                  </a:lnTo>
                  <a:lnTo>
                    <a:pt x="1196" y="2351"/>
                  </a:lnTo>
                  <a:lnTo>
                    <a:pt x="1217" y="2365"/>
                  </a:lnTo>
                  <a:lnTo>
                    <a:pt x="1273" y="2497"/>
                  </a:lnTo>
                  <a:lnTo>
                    <a:pt x="1280" y="2532"/>
                  </a:lnTo>
                  <a:lnTo>
                    <a:pt x="1335" y="2588"/>
                  </a:lnTo>
                  <a:lnTo>
                    <a:pt x="1363" y="2630"/>
                  </a:lnTo>
                  <a:lnTo>
                    <a:pt x="1384" y="2720"/>
                  </a:lnTo>
                  <a:lnTo>
                    <a:pt x="1405" y="2984"/>
                  </a:lnTo>
                  <a:lnTo>
                    <a:pt x="1370" y="3193"/>
                  </a:lnTo>
                  <a:lnTo>
                    <a:pt x="1363" y="3193"/>
                  </a:lnTo>
                  <a:lnTo>
                    <a:pt x="1363" y="3235"/>
                  </a:lnTo>
                  <a:lnTo>
                    <a:pt x="1328" y="3249"/>
                  </a:lnTo>
                  <a:lnTo>
                    <a:pt x="1314" y="3290"/>
                  </a:lnTo>
                  <a:lnTo>
                    <a:pt x="1342" y="3381"/>
                  </a:lnTo>
                  <a:lnTo>
                    <a:pt x="1370" y="3388"/>
                  </a:lnTo>
                  <a:lnTo>
                    <a:pt x="1405" y="3409"/>
                  </a:lnTo>
                  <a:lnTo>
                    <a:pt x="1405" y="3367"/>
                  </a:lnTo>
                  <a:lnTo>
                    <a:pt x="1447" y="3339"/>
                  </a:lnTo>
                  <a:lnTo>
                    <a:pt x="1600" y="3339"/>
                  </a:lnTo>
                  <a:lnTo>
                    <a:pt x="1739" y="3388"/>
                  </a:lnTo>
                  <a:lnTo>
                    <a:pt x="1787" y="3423"/>
                  </a:lnTo>
                  <a:lnTo>
                    <a:pt x="1801" y="3485"/>
                  </a:lnTo>
                  <a:lnTo>
                    <a:pt x="1787" y="3541"/>
                  </a:lnTo>
                  <a:lnTo>
                    <a:pt x="1794" y="3576"/>
                  </a:lnTo>
                  <a:lnTo>
                    <a:pt x="1773" y="3638"/>
                  </a:lnTo>
                  <a:lnTo>
                    <a:pt x="1739" y="3652"/>
                  </a:lnTo>
                  <a:lnTo>
                    <a:pt x="1711" y="3666"/>
                  </a:lnTo>
                  <a:lnTo>
                    <a:pt x="1822" y="3729"/>
                  </a:lnTo>
                  <a:lnTo>
                    <a:pt x="1989" y="3763"/>
                  </a:lnTo>
                  <a:lnTo>
                    <a:pt x="2121" y="3833"/>
                  </a:lnTo>
                  <a:lnTo>
                    <a:pt x="2163" y="3930"/>
                  </a:lnTo>
                  <a:lnTo>
                    <a:pt x="2184" y="3993"/>
                  </a:lnTo>
                  <a:lnTo>
                    <a:pt x="2309" y="4042"/>
                  </a:lnTo>
                  <a:lnTo>
                    <a:pt x="2295" y="4070"/>
                  </a:lnTo>
                  <a:lnTo>
                    <a:pt x="2330" y="4111"/>
                  </a:lnTo>
                  <a:lnTo>
                    <a:pt x="2358" y="4188"/>
                  </a:lnTo>
                  <a:lnTo>
                    <a:pt x="2386" y="4202"/>
                  </a:lnTo>
                  <a:lnTo>
                    <a:pt x="2421" y="4188"/>
                  </a:lnTo>
                  <a:lnTo>
                    <a:pt x="2476" y="4292"/>
                  </a:lnTo>
                  <a:lnTo>
                    <a:pt x="2462" y="4424"/>
                  </a:lnTo>
                  <a:lnTo>
                    <a:pt x="2421" y="4466"/>
                  </a:lnTo>
                  <a:lnTo>
                    <a:pt x="2379" y="4459"/>
                  </a:lnTo>
                  <a:lnTo>
                    <a:pt x="2330" y="4438"/>
                  </a:lnTo>
                  <a:lnTo>
                    <a:pt x="2316" y="4487"/>
                  </a:lnTo>
                  <a:lnTo>
                    <a:pt x="2316" y="4515"/>
                  </a:lnTo>
                  <a:lnTo>
                    <a:pt x="2323" y="4556"/>
                  </a:lnTo>
                  <a:lnTo>
                    <a:pt x="2393" y="4591"/>
                  </a:lnTo>
                  <a:lnTo>
                    <a:pt x="2413" y="4626"/>
                  </a:lnTo>
                  <a:lnTo>
                    <a:pt x="2427" y="4619"/>
                  </a:lnTo>
                  <a:lnTo>
                    <a:pt x="2476" y="4626"/>
                  </a:lnTo>
                  <a:lnTo>
                    <a:pt x="2476" y="4612"/>
                  </a:lnTo>
                  <a:lnTo>
                    <a:pt x="2511" y="4570"/>
                  </a:lnTo>
                  <a:lnTo>
                    <a:pt x="2497" y="4556"/>
                  </a:lnTo>
                  <a:lnTo>
                    <a:pt x="2497" y="4536"/>
                  </a:lnTo>
                  <a:lnTo>
                    <a:pt x="2518" y="4522"/>
                  </a:lnTo>
                  <a:lnTo>
                    <a:pt x="2615" y="4501"/>
                  </a:lnTo>
                  <a:lnTo>
                    <a:pt x="2643" y="4536"/>
                  </a:lnTo>
                  <a:lnTo>
                    <a:pt x="2685" y="4529"/>
                  </a:lnTo>
                  <a:lnTo>
                    <a:pt x="2907" y="4591"/>
                  </a:lnTo>
                  <a:lnTo>
                    <a:pt x="2914" y="4536"/>
                  </a:lnTo>
                  <a:lnTo>
                    <a:pt x="2956" y="4494"/>
                  </a:lnTo>
                  <a:lnTo>
                    <a:pt x="2970" y="4459"/>
                  </a:lnTo>
                  <a:lnTo>
                    <a:pt x="3019" y="4466"/>
                  </a:lnTo>
                  <a:lnTo>
                    <a:pt x="3068" y="4459"/>
                  </a:lnTo>
                  <a:lnTo>
                    <a:pt x="3179" y="4466"/>
                  </a:lnTo>
                  <a:lnTo>
                    <a:pt x="3179" y="4355"/>
                  </a:lnTo>
                  <a:lnTo>
                    <a:pt x="3130" y="4327"/>
                  </a:lnTo>
                  <a:lnTo>
                    <a:pt x="3109" y="4299"/>
                  </a:lnTo>
                  <a:lnTo>
                    <a:pt x="3095" y="4285"/>
                  </a:lnTo>
                  <a:lnTo>
                    <a:pt x="3130" y="4230"/>
                  </a:lnTo>
                  <a:lnTo>
                    <a:pt x="3130" y="4222"/>
                  </a:lnTo>
                  <a:lnTo>
                    <a:pt x="3116" y="4188"/>
                  </a:lnTo>
                  <a:lnTo>
                    <a:pt x="3151" y="4174"/>
                  </a:lnTo>
                  <a:lnTo>
                    <a:pt x="3179" y="4195"/>
                  </a:lnTo>
                  <a:lnTo>
                    <a:pt x="3207" y="4174"/>
                  </a:lnTo>
                  <a:lnTo>
                    <a:pt x="3234" y="4174"/>
                  </a:lnTo>
                  <a:lnTo>
                    <a:pt x="3262" y="4160"/>
                  </a:lnTo>
                  <a:lnTo>
                    <a:pt x="3297" y="4132"/>
                  </a:lnTo>
                  <a:lnTo>
                    <a:pt x="3283" y="4111"/>
                  </a:lnTo>
                  <a:lnTo>
                    <a:pt x="3339" y="4090"/>
                  </a:lnTo>
                  <a:lnTo>
                    <a:pt x="3374" y="4090"/>
                  </a:lnTo>
                  <a:lnTo>
                    <a:pt x="3401" y="4035"/>
                  </a:lnTo>
                  <a:lnTo>
                    <a:pt x="3408" y="4021"/>
                  </a:lnTo>
                  <a:lnTo>
                    <a:pt x="3457" y="4035"/>
                  </a:lnTo>
                  <a:lnTo>
                    <a:pt x="3478" y="4021"/>
                  </a:lnTo>
                  <a:lnTo>
                    <a:pt x="3492" y="4007"/>
                  </a:lnTo>
                  <a:lnTo>
                    <a:pt x="3492" y="3958"/>
                  </a:lnTo>
                  <a:lnTo>
                    <a:pt x="3457" y="3937"/>
                  </a:lnTo>
                  <a:lnTo>
                    <a:pt x="3443" y="3868"/>
                  </a:lnTo>
                  <a:lnTo>
                    <a:pt x="3478" y="3868"/>
                  </a:lnTo>
                  <a:lnTo>
                    <a:pt x="3499" y="3812"/>
                  </a:lnTo>
                  <a:lnTo>
                    <a:pt x="3513" y="3791"/>
                  </a:lnTo>
                  <a:lnTo>
                    <a:pt x="3457" y="3763"/>
                  </a:lnTo>
                  <a:lnTo>
                    <a:pt x="3457" y="3743"/>
                  </a:lnTo>
                  <a:lnTo>
                    <a:pt x="3422" y="3715"/>
                  </a:lnTo>
                  <a:lnTo>
                    <a:pt x="3394" y="3701"/>
                  </a:lnTo>
                  <a:lnTo>
                    <a:pt x="3429" y="3631"/>
                  </a:lnTo>
                  <a:lnTo>
                    <a:pt x="3443" y="3617"/>
                  </a:lnTo>
                  <a:lnTo>
                    <a:pt x="3492" y="3680"/>
                  </a:lnTo>
                  <a:lnTo>
                    <a:pt x="3499" y="3652"/>
                  </a:lnTo>
                  <a:lnTo>
                    <a:pt x="3513" y="3610"/>
                  </a:lnTo>
                  <a:lnTo>
                    <a:pt x="3568" y="3582"/>
                  </a:lnTo>
                  <a:lnTo>
                    <a:pt x="3638" y="3597"/>
                  </a:lnTo>
                  <a:lnTo>
                    <a:pt x="3631" y="3576"/>
                  </a:lnTo>
                  <a:lnTo>
                    <a:pt x="3652" y="3569"/>
                  </a:lnTo>
                  <a:lnTo>
                    <a:pt x="3700" y="3513"/>
                  </a:lnTo>
                  <a:lnTo>
                    <a:pt x="3742" y="3520"/>
                  </a:lnTo>
                  <a:lnTo>
                    <a:pt x="3742" y="3506"/>
                  </a:lnTo>
                  <a:lnTo>
                    <a:pt x="3742" y="3471"/>
                  </a:lnTo>
                  <a:lnTo>
                    <a:pt x="3728" y="3443"/>
                  </a:lnTo>
                  <a:lnTo>
                    <a:pt x="3700" y="3436"/>
                  </a:lnTo>
                  <a:lnTo>
                    <a:pt x="3728" y="3353"/>
                  </a:lnTo>
                  <a:lnTo>
                    <a:pt x="3728" y="3276"/>
                  </a:lnTo>
                  <a:lnTo>
                    <a:pt x="3756" y="3193"/>
                  </a:lnTo>
                  <a:lnTo>
                    <a:pt x="3763" y="3186"/>
                  </a:lnTo>
                  <a:lnTo>
                    <a:pt x="3784" y="3109"/>
                  </a:lnTo>
                  <a:lnTo>
                    <a:pt x="3735" y="3082"/>
                  </a:lnTo>
                  <a:lnTo>
                    <a:pt x="3708" y="3109"/>
                  </a:lnTo>
                  <a:lnTo>
                    <a:pt x="3687" y="3061"/>
                  </a:lnTo>
                  <a:lnTo>
                    <a:pt x="3693" y="3040"/>
                  </a:lnTo>
                  <a:lnTo>
                    <a:pt x="3673" y="2957"/>
                  </a:lnTo>
                  <a:lnTo>
                    <a:pt x="3687" y="2915"/>
                  </a:lnTo>
                  <a:lnTo>
                    <a:pt x="3742" y="2859"/>
                  </a:lnTo>
                  <a:lnTo>
                    <a:pt x="3805" y="2831"/>
                  </a:lnTo>
                  <a:lnTo>
                    <a:pt x="3840" y="2824"/>
                  </a:lnTo>
                  <a:lnTo>
                    <a:pt x="3881" y="2720"/>
                  </a:lnTo>
                  <a:lnTo>
                    <a:pt x="3881" y="2685"/>
                  </a:lnTo>
                  <a:lnTo>
                    <a:pt x="3902" y="2685"/>
                  </a:lnTo>
                  <a:lnTo>
                    <a:pt x="3965" y="2713"/>
                  </a:lnTo>
                  <a:lnTo>
                    <a:pt x="4021" y="2678"/>
                  </a:lnTo>
                  <a:lnTo>
                    <a:pt x="4062" y="2664"/>
                  </a:lnTo>
                  <a:lnTo>
                    <a:pt x="4146" y="2616"/>
                  </a:lnTo>
                  <a:lnTo>
                    <a:pt x="4153" y="2616"/>
                  </a:lnTo>
                  <a:lnTo>
                    <a:pt x="4181" y="2588"/>
                  </a:lnTo>
                  <a:lnTo>
                    <a:pt x="4132" y="2546"/>
                  </a:lnTo>
                  <a:lnTo>
                    <a:pt x="4118" y="2567"/>
                  </a:lnTo>
                  <a:lnTo>
                    <a:pt x="4097" y="2616"/>
                  </a:lnTo>
                  <a:lnTo>
                    <a:pt x="4035" y="2588"/>
                  </a:lnTo>
                  <a:lnTo>
                    <a:pt x="4021" y="2553"/>
                  </a:lnTo>
                  <a:lnTo>
                    <a:pt x="4035" y="2483"/>
                  </a:lnTo>
                  <a:lnTo>
                    <a:pt x="3986" y="2421"/>
                  </a:lnTo>
                  <a:lnTo>
                    <a:pt x="3937" y="2428"/>
                  </a:lnTo>
                  <a:lnTo>
                    <a:pt x="3930" y="2351"/>
                  </a:lnTo>
                  <a:lnTo>
                    <a:pt x="3916" y="2351"/>
                  </a:lnTo>
                  <a:lnTo>
                    <a:pt x="3860" y="2351"/>
                  </a:lnTo>
                  <a:lnTo>
                    <a:pt x="3854" y="2323"/>
                  </a:lnTo>
                  <a:lnTo>
                    <a:pt x="3902" y="2275"/>
                  </a:lnTo>
                  <a:lnTo>
                    <a:pt x="3958" y="2268"/>
                  </a:lnTo>
                  <a:lnTo>
                    <a:pt x="3972" y="2240"/>
                  </a:lnTo>
                  <a:lnTo>
                    <a:pt x="4027" y="2198"/>
                  </a:lnTo>
                  <a:lnTo>
                    <a:pt x="4048" y="2198"/>
                  </a:lnTo>
                  <a:lnTo>
                    <a:pt x="4048" y="2184"/>
                  </a:lnTo>
                  <a:lnTo>
                    <a:pt x="4027" y="2163"/>
                  </a:lnTo>
                  <a:lnTo>
                    <a:pt x="3958" y="2122"/>
                  </a:lnTo>
                  <a:lnTo>
                    <a:pt x="3986" y="2066"/>
                  </a:lnTo>
                  <a:lnTo>
                    <a:pt x="4048" y="2066"/>
                  </a:lnTo>
                  <a:lnTo>
                    <a:pt x="4062" y="2073"/>
                  </a:lnTo>
                  <a:lnTo>
                    <a:pt x="4090" y="1990"/>
                  </a:lnTo>
                  <a:lnTo>
                    <a:pt x="4160" y="1892"/>
                  </a:lnTo>
                  <a:lnTo>
                    <a:pt x="4118" y="1829"/>
                  </a:lnTo>
                  <a:lnTo>
                    <a:pt x="4132" y="1823"/>
                  </a:lnTo>
                  <a:lnTo>
                    <a:pt x="4160" y="1809"/>
                  </a:lnTo>
                  <a:lnTo>
                    <a:pt x="4215" y="1774"/>
                  </a:lnTo>
                  <a:lnTo>
                    <a:pt x="4215" y="1732"/>
                  </a:lnTo>
                  <a:lnTo>
                    <a:pt x="4285" y="1739"/>
                  </a:lnTo>
                  <a:lnTo>
                    <a:pt x="4313" y="1697"/>
                  </a:lnTo>
                  <a:lnTo>
                    <a:pt x="4327" y="1697"/>
                  </a:lnTo>
                  <a:lnTo>
                    <a:pt x="4327" y="1739"/>
                  </a:lnTo>
                  <a:lnTo>
                    <a:pt x="4361" y="1739"/>
                  </a:lnTo>
                  <a:lnTo>
                    <a:pt x="4361" y="1677"/>
                  </a:lnTo>
                  <a:lnTo>
                    <a:pt x="4389" y="1683"/>
                  </a:lnTo>
                  <a:lnTo>
                    <a:pt x="4424" y="1677"/>
                  </a:lnTo>
                  <a:lnTo>
                    <a:pt x="4361" y="1614"/>
                  </a:lnTo>
                  <a:lnTo>
                    <a:pt x="4354" y="1600"/>
                  </a:lnTo>
                  <a:lnTo>
                    <a:pt x="4313" y="1572"/>
                  </a:lnTo>
                  <a:lnTo>
                    <a:pt x="4278" y="1551"/>
                  </a:lnTo>
                  <a:lnTo>
                    <a:pt x="4229" y="1565"/>
                  </a:lnTo>
                  <a:lnTo>
                    <a:pt x="4229" y="1579"/>
                  </a:lnTo>
                  <a:lnTo>
                    <a:pt x="4167" y="1572"/>
                  </a:lnTo>
                  <a:lnTo>
                    <a:pt x="4132" y="1600"/>
                  </a:lnTo>
                  <a:lnTo>
                    <a:pt x="4125" y="1628"/>
                  </a:lnTo>
                  <a:lnTo>
                    <a:pt x="4083" y="1565"/>
                  </a:lnTo>
                  <a:lnTo>
                    <a:pt x="4035" y="1579"/>
                  </a:lnTo>
                  <a:lnTo>
                    <a:pt x="3986" y="1579"/>
                  </a:lnTo>
                  <a:lnTo>
                    <a:pt x="3930" y="1607"/>
                  </a:lnTo>
                  <a:lnTo>
                    <a:pt x="3916" y="1593"/>
                  </a:lnTo>
                  <a:lnTo>
                    <a:pt x="3881" y="1572"/>
                  </a:lnTo>
                  <a:lnTo>
                    <a:pt x="3833" y="1565"/>
                  </a:lnTo>
                  <a:lnTo>
                    <a:pt x="3791" y="1565"/>
                  </a:lnTo>
                  <a:lnTo>
                    <a:pt x="3728" y="1510"/>
                  </a:lnTo>
                  <a:lnTo>
                    <a:pt x="3673" y="1482"/>
                  </a:lnTo>
                  <a:lnTo>
                    <a:pt x="3673" y="1454"/>
                  </a:lnTo>
                  <a:lnTo>
                    <a:pt x="3652" y="1454"/>
                  </a:lnTo>
                  <a:lnTo>
                    <a:pt x="3603" y="1447"/>
                  </a:lnTo>
                  <a:lnTo>
                    <a:pt x="3561" y="1454"/>
                  </a:lnTo>
                  <a:lnTo>
                    <a:pt x="3554" y="1454"/>
                  </a:lnTo>
                  <a:lnTo>
                    <a:pt x="3499" y="1412"/>
                  </a:lnTo>
                  <a:lnTo>
                    <a:pt x="3464" y="1377"/>
                  </a:lnTo>
                  <a:lnTo>
                    <a:pt x="3422" y="1364"/>
                  </a:lnTo>
                  <a:lnTo>
                    <a:pt x="3339" y="1308"/>
                  </a:lnTo>
                  <a:lnTo>
                    <a:pt x="3339" y="1252"/>
                  </a:lnTo>
                  <a:lnTo>
                    <a:pt x="3339" y="1210"/>
                  </a:lnTo>
                  <a:lnTo>
                    <a:pt x="3283" y="1176"/>
                  </a:lnTo>
                  <a:lnTo>
                    <a:pt x="3304" y="1141"/>
                  </a:lnTo>
                  <a:lnTo>
                    <a:pt x="3248" y="1092"/>
                  </a:lnTo>
                  <a:lnTo>
                    <a:pt x="3228" y="1050"/>
                  </a:lnTo>
                  <a:lnTo>
                    <a:pt x="3234" y="1037"/>
                  </a:lnTo>
                  <a:lnTo>
                    <a:pt x="3248" y="1037"/>
                  </a:lnTo>
                  <a:lnTo>
                    <a:pt x="3241" y="995"/>
                  </a:lnTo>
                  <a:lnTo>
                    <a:pt x="3283" y="988"/>
                  </a:lnTo>
                  <a:lnTo>
                    <a:pt x="3311" y="939"/>
                  </a:lnTo>
                  <a:lnTo>
                    <a:pt x="3367" y="856"/>
                  </a:lnTo>
                  <a:lnTo>
                    <a:pt x="3401" y="786"/>
                  </a:lnTo>
                  <a:lnTo>
                    <a:pt x="3401" y="779"/>
                  </a:lnTo>
                  <a:lnTo>
                    <a:pt x="3394" y="765"/>
                  </a:lnTo>
                  <a:lnTo>
                    <a:pt x="3339" y="765"/>
                  </a:lnTo>
                  <a:lnTo>
                    <a:pt x="3297" y="765"/>
                  </a:lnTo>
                  <a:lnTo>
                    <a:pt x="3248" y="807"/>
                  </a:lnTo>
                  <a:lnTo>
                    <a:pt x="3228" y="814"/>
                  </a:lnTo>
                  <a:lnTo>
                    <a:pt x="3179" y="779"/>
                  </a:lnTo>
                  <a:lnTo>
                    <a:pt x="3130" y="793"/>
                  </a:lnTo>
                  <a:lnTo>
                    <a:pt x="3130" y="786"/>
                  </a:lnTo>
                  <a:lnTo>
                    <a:pt x="3151" y="751"/>
                  </a:lnTo>
                  <a:lnTo>
                    <a:pt x="3179" y="724"/>
                  </a:lnTo>
                  <a:lnTo>
                    <a:pt x="3172" y="696"/>
                  </a:lnTo>
                  <a:lnTo>
                    <a:pt x="3165" y="689"/>
                  </a:lnTo>
                  <a:lnTo>
                    <a:pt x="3081" y="675"/>
                  </a:lnTo>
                  <a:lnTo>
                    <a:pt x="3068" y="696"/>
                  </a:lnTo>
                  <a:lnTo>
                    <a:pt x="3033" y="689"/>
                  </a:lnTo>
                  <a:lnTo>
                    <a:pt x="3019" y="696"/>
                  </a:lnTo>
                  <a:lnTo>
                    <a:pt x="3005" y="682"/>
                  </a:lnTo>
                  <a:lnTo>
                    <a:pt x="2970" y="647"/>
                  </a:lnTo>
                  <a:lnTo>
                    <a:pt x="2921" y="619"/>
                  </a:lnTo>
                  <a:lnTo>
                    <a:pt x="2907" y="612"/>
                  </a:lnTo>
                  <a:lnTo>
                    <a:pt x="2914" y="577"/>
                  </a:lnTo>
                  <a:lnTo>
                    <a:pt x="2866" y="522"/>
                  </a:lnTo>
                  <a:lnTo>
                    <a:pt x="2803" y="577"/>
                  </a:lnTo>
                  <a:lnTo>
                    <a:pt x="2803" y="591"/>
                  </a:lnTo>
                  <a:lnTo>
                    <a:pt x="2768" y="591"/>
                  </a:lnTo>
                  <a:lnTo>
                    <a:pt x="2713" y="598"/>
                  </a:lnTo>
                  <a:lnTo>
                    <a:pt x="2692" y="633"/>
                  </a:lnTo>
                  <a:lnTo>
                    <a:pt x="2650" y="661"/>
                  </a:lnTo>
                  <a:lnTo>
                    <a:pt x="2629" y="689"/>
                  </a:lnTo>
                  <a:lnTo>
                    <a:pt x="2615" y="689"/>
                  </a:lnTo>
                  <a:lnTo>
                    <a:pt x="2490" y="710"/>
                  </a:lnTo>
                  <a:lnTo>
                    <a:pt x="2518" y="751"/>
                  </a:lnTo>
                  <a:lnTo>
                    <a:pt x="2594" y="793"/>
                  </a:lnTo>
                  <a:lnTo>
                    <a:pt x="2594" y="814"/>
                  </a:lnTo>
                  <a:lnTo>
                    <a:pt x="2574" y="821"/>
                  </a:lnTo>
                  <a:lnTo>
                    <a:pt x="2490" y="821"/>
                  </a:lnTo>
                </a:path>
              </a:pathLst>
            </a:custGeom>
            <a:solidFill>
              <a:srgbClr val="E84C22">
                <a:alpha val="74000"/>
              </a:srgbClr>
            </a:solidFill>
            <a:ln w="12700" cap="flat" cmpd="sng">
              <a:solidFill>
                <a:srgbClr val="F47B20"/>
              </a:solidFill>
              <a:bevel/>
              <a:headEnd/>
              <a:tailEnd/>
            </a:ln>
            <a:effectLst/>
          </p:spPr>
          <p:txBody>
            <a:bodyPr wrap="none" anchor="ctr"/>
            <a:lstStyle/>
            <a:p>
              <a:pPr>
                <a:defRPr/>
              </a:pPr>
              <a:endParaRPr lang="en-US" sz="1801">
                <a:solidFill>
                  <a:srgbClr val="001E60"/>
                </a:solidFill>
                <a:latin typeface="Univers LT 47 CondensedLt" panose="02000406040000020003" pitchFamily="2" charset="0"/>
              </a:endParaRPr>
            </a:p>
          </p:txBody>
        </p:sp>
      </p:grpSp>
    </p:spTree>
    <p:extLst>
      <p:ext uri="{BB962C8B-B14F-4D97-AF65-F5344CB8AC3E}">
        <p14:creationId xmlns:p14="http://schemas.microsoft.com/office/powerpoint/2010/main" val="3693009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72C5F-F433-347D-7B85-F153CDF11C6B}"/>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12731131-96EA-54AE-DFA0-C4A463662A29}"/>
              </a:ext>
            </a:extLst>
          </p:cNvPr>
          <p:cNvSpPr>
            <a:spLocks noGrp="1"/>
          </p:cNvSpPr>
          <p:nvPr>
            <p:ph type="title"/>
          </p:nvPr>
        </p:nvSpPr>
        <p:spPr>
          <a:xfrm>
            <a:off x="403314" y="206101"/>
            <a:ext cx="11788686" cy="553198"/>
          </a:xfrm>
        </p:spPr>
        <p:txBody>
          <a:bodyPr/>
          <a:lstStyle/>
          <a:p>
            <a:r>
              <a:rPr lang="it-IT" sz="2800" dirty="0"/>
              <a:t>Per quasi 1/3 della popolazione toscana, le trasformazioni più significative riguarderanno soprattutto le tipologie e le modalità di lavoro</a:t>
            </a:r>
            <a:endParaRPr lang="it-IT" sz="2800" b="1" i="1" dirty="0"/>
          </a:p>
        </p:txBody>
      </p:sp>
      <p:sp>
        <p:nvSpPr>
          <p:cNvPr id="5" name="Segnaposto testo 3">
            <a:extLst>
              <a:ext uri="{FF2B5EF4-FFF2-40B4-BE49-F238E27FC236}">
                <a16:creationId xmlns:a16="http://schemas.microsoft.com/office/drawing/2014/main" id="{D9B80429-C8DD-9BB4-E26B-4F157F0165EA}"/>
              </a:ext>
            </a:extLst>
          </p:cNvPr>
          <p:cNvSpPr>
            <a:spLocks noGrp="1"/>
          </p:cNvSpPr>
          <p:nvPr>
            <p:ph type="body" sz="quarter" idx="10"/>
          </p:nvPr>
        </p:nvSpPr>
        <p:spPr>
          <a:xfrm>
            <a:off x="1595888" y="6360269"/>
            <a:ext cx="9540425" cy="345005"/>
          </a:xfrm>
        </p:spPr>
        <p:txBody>
          <a:bodyPr/>
          <a:lstStyle/>
          <a:p>
            <a:pPr>
              <a:spcBef>
                <a:spcPts val="0"/>
              </a:spcBef>
            </a:pPr>
            <a:r>
              <a:rPr lang="it-IT" dirty="0"/>
              <a:t>Nota: campione di 1.009 casi ponderati.</a:t>
            </a:r>
          </a:p>
          <a:p>
            <a:pPr>
              <a:spcBef>
                <a:spcPts val="0"/>
              </a:spcBef>
            </a:pPr>
            <a:r>
              <a:rPr lang="it-IT" dirty="0"/>
              <a:t>Fonte: elaborazione TEHA Group su risultati della rilevazione demoscopica realizzata da Momentum presso la cittadinanza toscana, 2025</a:t>
            </a:r>
          </a:p>
        </p:txBody>
      </p:sp>
      <p:grpSp>
        <p:nvGrpSpPr>
          <p:cNvPr id="14" name="Gruppo 13">
            <a:extLst>
              <a:ext uri="{FF2B5EF4-FFF2-40B4-BE49-F238E27FC236}">
                <a16:creationId xmlns:a16="http://schemas.microsoft.com/office/drawing/2014/main" id="{76B9C3EA-AA91-9E1C-52A5-59E6337D0340}"/>
              </a:ext>
            </a:extLst>
          </p:cNvPr>
          <p:cNvGrpSpPr>
            <a:grpSpLocks noChangeAspect="1"/>
          </p:cNvGrpSpPr>
          <p:nvPr/>
        </p:nvGrpSpPr>
        <p:grpSpPr>
          <a:xfrm>
            <a:off x="11613358" y="725368"/>
            <a:ext cx="396000" cy="395093"/>
            <a:chOff x="4769033" y="2450101"/>
            <a:chExt cx="2450649" cy="2445035"/>
          </a:xfrm>
        </p:grpSpPr>
        <p:sp>
          <p:nvSpPr>
            <p:cNvPr id="15" name="Oval 47">
              <a:extLst>
                <a:ext uri="{FF2B5EF4-FFF2-40B4-BE49-F238E27FC236}">
                  <a16:creationId xmlns:a16="http://schemas.microsoft.com/office/drawing/2014/main" id="{9B023E35-43A3-F70C-F07F-A48AD898DC42}"/>
                </a:ext>
              </a:extLst>
            </p:cNvPr>
            <p:cNvSpPr>
              <a:spLocks noChangeArrowheads="1"/>
            </p:cNvSpPr>
            <p:nvPr/>
          </p:nvSpPr>
          <p:spPr bwMode="auto">
            <a:xfrm>
              <a:off x="4769033" y="2450101"/>
              <a:ext cx="2450649" cy="2445035"/>
            </a:xfrm>
            <a:prstGeom prst="ellipse">
              <a:avLst/>
            </a:prstGeom>
            <a:solidFill>
              <a:schemeClr val="bg1"/>
            </a:solidFill>
            <a:ln w="19050" algn="ctr">
              <a:solidFill>
                <a:srgbClr val="F47B20"/>
              </a:solidFill>
              <a:round/>
              <a:headEnd/>
              <a:tailEnd/>
            </a:ln>
          </p:spPr>
          <p:txBody>
            <a:bodyPr wrap="none" tIns="0" anchor="ctr"/>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marL="1828800" indent="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86000" indent="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743200" indent="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200400" indent="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11">
                <a:defRPr/>
              </a:pPr>
              <a:endParaRPr lang="en-US" altLang="en-US" sz="1051">
                <a:solidFill>
                  <a:srgbClr val="4B7942"/>
                </a:solidFill>
                <a:latin typeface="Univers LT 47 CondensedLt" panose="02000406040000020003" pitchFamily="2" charset="0"/>
              </a:endParaRPr>
            </a:p>
          </p:txBody>
        </p:sp>
        <p:sp>
          <p:nvSpPr>
            <p:cNvPr id="16" name="Freeform 74">
              <a:extLst>
                <a:ext uri="{FF2B5EF4-FFF2-40B4-BE49-F238E27FC236}">
                  <a16:creationId xmlns:a16="http://schemas.microsoft.com/office/drawing/2014/main" id="{06C0C0BE-FC7F-642D-6717-3ACB8EC9AF53}"/>
                </a:ext>
              </a:extLst>
            </p:cNvPr>
            <p:cNvSpPr>
              <a:spLocks noChangeArrowheads="1"/>
            </p:cNvSpPr>
            <p:nvPr/>
          </p:nvSpPr>
          <p:spPr bwMode="auto">
            <a:xfrm>
              <a:off x="5104710" y="2769718"/>
              <a:ext cx="1906779" cy="1951245"/>
            </a:xfrm>
            <a:custGeom>
              <a:avLst/>
              <a:gdLst>
                <a:gd name="T0" fmla="*/ 2247 w 4425"/>
                <a:gd name="T1" fmla="*/ 842 h 4627"/>
                <a:gd name="T2" fmla="*/ 2031 w 4425"/>
                <a:gd name="T3" fmla="*/ 904 h 4627"/>
                <a:gd name="T4" fmla="*/ 1899 w 4425"/>
                <a:gd name="T5" fmla="*/ 793 h 4627"/>
                <a:gd name="T6" fmla="*/ 1579 w 4425"/>
                <a:gd name="T7" fmla="*/ 696 h 4627"/>
                <a:gd name="T8" fmla="*/ 1474 w 4425"/>
                <a:gd name="T9" fmla="*/ 758 h 4627"/>
                <a:gd name="T10" fmla="*/ 1335 w 4425"/>
                <a:gd name="T11" fmla="*/ 564 h 4627"/>
                <a:gd name="T12" fmla="*/ 1099 w 4425"/>
                <a:gd name="T13" fmla="val 41358"/>
                <a:gd name="T14" fmla="*/ 841 w 4425"/>
                <a:gd name="T15" fmla="*/ 348 h 4627"/>
                <a:gd name="T16" fmla="*/ 598 w 4425"/>
                <a:gd name="T17" fmla="*/ 223 h 4627"/>
                <a:gd name="T18" fmla="*/ 466 w 4425"/>
                <a:gd name="T19" fmla="*/ 28 h 4627"/>
                <a:gd name="T20" fmla="*/ 118 w 4425"/>
                <a:gd name="T21" fmla="*/ 188 h 4627"/>
                <a:gd name="T22" fmla="*/ 69 w 4425"/>
                <a:gd name="T23" fmla="*/ 320 h 4627"/>
                <a:gd name="T24" fmla="*/ 278 w 4425"/>
                <a:gd name="T25" fmla="*/ 452 h 4627"/>
                <a:gd name="T26" fmla="*/ 333 w 4425"/>
                <a:gd name="T27" fmla="*/ 584 h 4627"/>
                <a:gd name="T28" fmla="*/ 347 w 4425"/>
                <a:gd name="T29" fmla="*/ 682 h 4627"/>
                <a:gd name="T30" fmla="*/ 487 w 4425"/>
                <a:gd name="T31" fmla="*/ 828 h 4627"/>
                <a:gd name="T32" fmla="*/ 563 w 4425"/>
                <a:gd name="T33" fmla="*/ 904 h 4627"/>
                <a:gd name="T34" fmla="*/ 814 w 4425"/>
                <a:gd name="T35" fmla="*/ 1169 h 4627"/>
                <a:gd name="T36" fmla="*/ 966 w 4425"/>
                <a:gd name="T37" fmla="*/ 1579 h 4627"/>
                <a:gd name="T38" fmla="*/ 1043 w 4425"/>
                <a:gd name="T39" fmla="*/ 2136 h 4627"/>
                <a:gd name="T40" fmla="*/ 1217 w 4425"/>
                <a:gd name="T41" fmla="*/ 2365 h 4627"/>
                <a:gd name="T42" fmla="*/ 1405 w 4425"/>
                <a:gd name="T43" fmla="*/ 2984 h 4627"/>
                <a:gd name="T44" fmla="*/ 1342 w 4425"/>
                <a:gd name="T45" fmla="*/ 3381 h 4627"/>
                <a:gd name="T46" fmla="*/ 1739 w 4425"/>
                <a:gd name="T47" fmla="*/ 3388 h 4627"/>
                <a:gd name="T48" fmla="*/ 1739 w 4425"/>
                <a:gd name="T49" fmla="*/ 3652 h 4627"/>
                <a:gd name="T50" fmla="*/ 2184 w 4425"/>
                <a:gd name="T51" fmla="*/ 3993 h 4627"/>
                <a:gd name="T52" fmla="*/ 2421 w 4425"/>
                <a:gd name="T53" fmla="*/ 4188 h 4627"/>
                <a:gd name="T54" fmla="*/ 2316 w 4425"/>
                <a:gd name="T55" fmla="*/ 4487 h 4627"/>
                <a:gd name="T56" fmla="*/ 2476 w 4425"/>
                <a:gd name="T57" fmla="*/ 4626 h 4627"/>
                <a:gd name="T58" fmla="*/ 2615 w 4425"/>
                <a:gd name="T59" fmla="*/ 4501 h 4627"/>
                <a:gd name="T60" fmla="*/ 2970 w 4425"/>
                <a:gd name="T61" fmla="*/ 4459 h 4627"/>
                <a:gd name="T62" fmla="*/ 3109 w 4425"/>
                <a:gd name="T63" fmla="*/ 4299 h 4627"/>
                <a:gd name="T64" fmla="*/ 3179 w 4425"/>
                <a:gd name="T65" fmla="*/ 4195 h 4627"/>
                <a:gd name="T66" fmla="*/ 3339 w 4425"/>
                <a:gd name="T67" fmla="*/ 4090 h 4627"/>
                <a:gd name="T68" fmla="*/ 3492 w 4425"/>
                <a:gd name="T69" fmla="*/ 4007 h 4627"/>
                <a:gd name="T70" fmla="*/ 3513 w 4425"/>
                <a:gd name="T71" fmla="*/ 3791 h 4627"/>
                <a:gd name="T72" fmla="*/ 3443 w 4425"/>
                <a:gd name="T73" fmla="*/ 3617 h 4627"/>
                <a:gd name="T74" fmla="*/ 3631 w 4425"/>
                <a:gd name="T75" fmla="*/ 3576 h 4627"/>
                <a:gd name="T76" fmla="*/ 3728 w 4425"/>
                <a:gd name="T77" fmla="*/ 3443 h 4627"/>
                <a:gd name="T78" fmla="*/ 3784 w 4425"/>
                <a:gd name="T79" fmla="*/ 3109 h 4627"/>
                <a:gd name="T80" fmla="*/ 3687 w 4425"/>
                <a:gd name="T81" fmla="*/ 2915 h 4627"/>
                <a:gd name="T82" fmla="*/ 3902 w 4425"/>
                <a:gd name="T83" fmla="*/ 2685 h 4627"/>
                <a:gd name="T84" fmla="*/ 4181 w 4425"/>
                <a:gd name="T85" fmla="*/ 2588 h 4627"/>
                <a:gd name="T86" fmla="*/ 4035 w 4425"/>
                <a:gd name="T87" fmla="*/ 2483 h 4627"/>
                <a:gd name="T88" fmla="*/ 3854 w 4425"/>
                <a:gd name="T89" fmla="*/ 2323 h 4627"/>
                <a:gd name="T90" fmla="*/ 4048 w 4425"/>
                <a:gd name="T91" fmla="*/ 2184 h 4627"/>
                <a:gd name="T92" fmla="*/ 4090 w 4425"/>
                <a:gd name="T93" fmla="*/ 1990 h 4627"/>
                <a:gd name="T94" fmla="*/ 4215 w 4425"/>
                <a:gd name="T95" fmla="*/ 1732 h 4627"/>
                <a:gd name="T96" fmla="*/ 4361 w 4425"/>
                <a:gd name="T97" fmla="*/ 1677 h 4627"/>
                <a:gd name="T98" fmla="*/ 4278 w 4425"/>
                <a:gd name="T99" fmla="*/ 1551 h 4627"/>
                <a:gd name="T100" fmla="*/ 4083 w 4425"/>
                <a:gd name="T101" fmla="*/ 1565 h 4627"/>
                <a:gd name="T102" fmla="*/ 3833 w 4425"/>
                <a:gd name="T103" fmla="*/ 1565 h 4627"/>
                <a:gd name="T104" fmla="*/ 3603 w 4425"/>
                <a:gd name="T105" fmla="*/ 1447 h 4627"/>
                <a:gd name="T106" fmla="*/ 3339 w 4425"/>
                <a:gd name="T107" fmla="*/ 1308 h 4627"/>
                <a:gd name="T108" fmla="*/ 3228 w 4425"/>
                <a:gd name="T109" fmla="*/ 1050 h 4627"/>
                <a:gd name="T110" fmla="*/ 3367 w 4425"/>
                <a:gd name="T111" fmla="*/ 856 h 4627"/>
                <a:gd name="T112" fmla="*/ 3248 w 4425"/>
                <a:gd name="T113" fmla="*/ 807 h 4627"/>
                <a:gd name="T114" fmla="*/ 3179 w 4425"/>
                <a:gd name="T115" fmla="*/ 724 h 4627"/>
                <a:gd name="T116" fmla="*/ 3019 w 4425"/>
                <a:gd name="T117" fmla="*/ 696 h 4627"/>
                <a:gd name="T118" fmla="*/ 2866 w 4425"/>
                <a:gd name="T119" fmla="*/ 522 h 4627"/>
                <a:gd name="T120" fmla="*/ 2650 w 4425"/>
                <a:gd name="T121" fmla="*/ 661 h 4627"/>
                <a:gd name="T122" fmla="*/ 2594 w 4425"/>
                <a:gd name="T123" fmla="*/ 814 h 4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25" h="4627">
                  <a:moveTo>
                    <a:pt x="2490" y="821"/>
                  </a:moveTo>
                  <a:lnTo>
                    <a:pt x="2483" y="814"/>
                  </a:lnTo>
                  <a:lnTo>
                    <a:pt x="2379" y="793"/>
                  </a:lnTo>
                  <a:lnTo>
                    <a:pt x="2323" y="828"/>
                  </a:lnTo>
                  <a:lnTo>
                    <a:pt x="2316" y="842"/>
                  </a:lnTo>
                  <a:lnTo>
                    <a:pt x="2247" y="842"/>
                  </a:lnTo>
                  <a:lnTo>
                    <a:pt x="2219" y="828"/>
                  </a:lnTo>
                  <a:lnTo>
                    <a:pt x="2170" y="807"/>
                  </a:lnTo>
                  <a:lnTo>
                    <a:pt x="2191" y="751"/>
                  </a:lnTo>
                  <a:lnTo>
                    <a:pt x="2170" y="730"/>
                  </a:lnTo>
                  <a:lnTo>
                    <a:pt x="2115" y="807"/>
                  </a:lnTo>
                  <a:lnTo>
                    <a:pt x="2031" y="904"/>
                  </a:lnTo>
                  <a:lnTo>
                    <a:pt x="2003" y="904"/>
                  </a:lnTo>
                  <a:lnTo>
                    <a:pt x="2003" y="863"/>
                  </a:lnTo>
                  <a:lnTo>
                    <a:pt x="1968" y="821"/>
                  </a:lnTo>
                  <a:lnTo>
                    <a:pt x="1940" y="821"/>
                  </a:lnTo>
                  <a:lnTo>
                    <a:pt x="1927" y="821"/>
                  </a:lnTo>
                  <a:lnTo>
                    <a:pt x="1899" y="793"/>
                  </a:lnTo>
                  <a:lnTo>
                    <a:pt x="1864" y="786"/>
                  </a:lnTo>
                  <a:lnTo>
                    <a:pt x="1801" y="751"/>
                  </a:lnTo>
                  <a:lnTo>
                    <a:pt x="1767" y="710"/>
                  </a:lnTo>
                  <a:lnTo>
                    <a:pt x="1690" y="696"/>
                  </a:lnTo>
                  <a:lnTo>
                    <a:pt x="1634" y="696"/>
                  </a:lnTo>
                  <a:lnTo>
                    <a:pt x="1579" y="696"/>
                  </a:lnTo>
                  <a:lnTo>
                    <a:pt x="1544" y="724"/>
                  </a:lnTo>
                  <a:lnTo>
                    <a:pt x="1544" y="765"/>
                  </a:lnTo>
                  <a:lnTo>
                    <a:pt x="1544" y="779"/>
                  </a:lnTo>
                  <a:lnTo>
                    <a:pt x="1523" y="779"/>
                  </a:lnTo>
                  <a:lnTo>
                    <a:pt x="1474" y="779"/>
                  </a:lnTo>
                  <a:lnTo>
                    <a:pt x="1474" y="758"/>
                  </a:lnTo>
                  <a:lnTo>
                    <a:pt x="1384" y="696"/>
                  </a:lnTo>
                  <a:lnTo>
                    <a:pt x="1377" y="682"/>
                  </a:lnTo>
                  <a:lnTo>
                    <a:pt x="1377" y="654"/>
                  </a:lnTo>
                  <a:lnTo>
                    <a:pt x="1349" y="626"/>
                  </a:lnTo>
                  <a:lnTo>
                    <a:pt x="1328" y="612"/>
                  </a:lnTo>
                  <a:lnTo>
                    <a:pt x="1335" y="564"/>
                  </a:lnTo>
                  <a:lnTo>
                    <a:pt x="1294" y="536"/>
                  </a:lnTo>
                  <a:lnTo>
                    <a:pt x="1238" y="536"/>
                  </a:lnTo>
                  <a:lnTo>
                    <a:pt x="1203" y="522"/>
                  </a:lnTo>
                  <a:lnTo>
                    <a:pt x="1182" y="494"/>
                  </a:lnTo>
                  <a:lnTo>
                    <a:pt x="1141" y="459"/>
                  </a:lnTo>
                  <a:lnTo>
                    <a:pt x="1099" y="445"/>
                  </a:lnTo>
                  <a:lnTo>
                    <a:pt x="1008" y="403"/>
                  </a:lnTo>
                  <a:lnTo>
                    <a:pt x="939" y="452"/>
                  </a:lnTo>
                  <a:lnTo>
                    <a:pt x="904" y="397"/>
                  </a:lnTo>
                  <a:lnTo>
                    <a:pt x="876" y="369"/>
                  </a:lnTo>
                  <a:lnTo>
                    <a:pt x="848" y="355"/>
                  </a:lnTo>
                  <a:lnTo>
                    <a:pt x="841" y="348"/>
                  </a:lnTo>
                  <a:lnTo>
                    <a:pt x="834" y="334"/>
                  </a:lnTo>
                  <a:lnTo>
                    <a:pt x="786" y="299"/>
                  </a:lnTo>
                  <a:lnTo>
                    <a:pt x="751" y="264"/>
                  </a:lnTo>
                  <a:lnTo>
                    <a:pt x="681" y="271"/>
                  </a:lnTo>
                  <a:lnTo>
                    <a:pt x="647" y="257"/>
                  </a:lnTo>
                  <a:lnTo>
                    <a:pt x="598" y="223"/>
                  </a:lnTo>
                  <a:lnTo>
                    <a:pt x="542" y="195"/>
                  </a:lnTo>
                  <a:lnTo>
                    <a:pt x="493" y="153"/>
                  </a:lnTo>
                  <a:lnTo>
                    <a:pt x="521" y="76"/>
                  </a:lnTo>
                  <a:lnTo>
                    <a:pt x="493" y="63"/>
                  </a:lnTo>
                  <a:lnTo>
                    <a:pt x="466" y="42"/>
                  </a:lnTo>
                  <a:lnTo>
                    <a:pt x="466" y="28"/>
                  </a:lnTo>
                  <a:lnTo>
                    <a:pt x="382" y="0"/>
                  </a:lnTo>
                  <a:lnTo>
                    <a:pt x="347" y="0"/>
                  </a:lnTo>
                  <a:lnTo>
                    <a:pt x="222" y="7"/>
                  </a:lnTo>
                  <a:lnTo>
                    <a:pt x="215" y="42"/>
                  </a:lnTo>
                  <a:lnTo>
                    <a:pt x="118" y="153"/>
                  </a:lnTo>
                  <a:lnTo>
                    <a:pt x="118" y="188"/>
                  </a:lnTo>
                  <a:lnTo>
                    <a:pt x="97" y="188"/>
                  </a:lnTo>
                  <a:lnTo>
                    <a:pt x="90" y="202"/>
                  </a:lnTo>
                  <a:lnTo>
                    <a:pt x="62" y="202"/>
                  </a:lnTo>
                  <a:lnTo>
                    <a:pt x="0" y="230"/>
                  </a:lnTo>
                  <a:lnTo>
                    <a:pt x="34" y="237"/>
                  </a:lnTo>
                  <a:lnTo>
                    <a:pt x="69" y="320"/>
                  </a:lnTo>
                  <a:lnTo>
                    <a:pt x="118" y="348"/>
                  </a:lnTo>
                  <a:lnTo>
                    <a:pt x="160" y="390"/>
                  </a:lnTo>
                  <a:lnTo>
                    <a:pt x="201" y="417"/>
                  </a:lnTo>
                  <a:lnTo>
                    <a:pt x="215" y="417"/>
                  </a:lnTo>
                  <a:lnTo>
                    <a:pt x="222" y="424"/>
                  </a:lnTo>
                  <a:lnTo>
                    <a:pt x="278" y="452"/>
                  </a:lnTo>
                  <a:lnTo>
                    <a:pt x="292" y="536"/>
                  </a:lnTo>
                  <a:lnTo>
                    <a:pt x="313" y="549"/>
                  </a:lnTo>
                  <a:lnTo>
                    <a:pt x="285" y="612"/>
                  </a:lnTo>
                  <a:lnTo>
                    <a:pt x="292" y="647"/>
                  </a:lnTo>
                  <a:lnTo>
                    <a:pt x="326" y="591"/>
                  </a:lnTo>
                  <a:lnTo>
                    <a:pt x="333" y="584"/>
                  </a:lnTo>
                  <a:lnTo>
                    <a:pt x="361" y="577"/>
                  </a:lnTo>
                  <a:lnTo>
                    <a:pt x="389" y="598"/>
                  </a:lnTo>
                  <a:lnTo>
                    <a:pt x="410" y="612"/>
                  </a:lnTo>
                  <a:lnTo>
                    <a:pt x="396" y="612"/>
                  </a:lnTo>
                  <a:lnTo>
                    <a:pt x="347" y="661"/>
                  </a:lnTo>
                  <a:lnTo>
                    <a:pt x="347" y="682"/>
                  </a:lnTo>
                  <a:lnTo>
                    <a:pt x="396" y="675"/>
                  </a:lnTo>
                  <a:lnTo>
                    <a:pt x="452" y="675"/>
                  </a:lnTo>
                  <a:lnTo>
                    <a:pt x="480" y="689"/>
                  </a:lnTo>
                  <a:lnTo>
                    <a:pt x="487" y="765"/>
                  </a:lnTo>
                  <a:lnTo>
                    <a:pt x="507" y="793"/>
                  </a:lnTo>
                  <a:lnTo>
                    <a:pt x="487" y="828"/>
                  </a:lnTo>
                  <a:lnTo>
                    <a:pt x="507" y="842"/>
                  </a:lnTo>
                  <a:lnTo>
                    <a:pt x="542" y="779"/>
                  </a:lnTo>
                  <a:lnTo>
                    <a:pt x="591" y="786"/>
                  </a:lnTo>
                  <a:lnTo>
                    <a:pt x="626" y="821"/>
                  </a:lnTo>
                  <a:lnTo>
                    <a:pt x="626" y="849"/>
                  </a:lnTo>
                  <a:lnTo>
                    <a:pt x="563" y="904"/>
                  </a:lnTo>
                  <a:lnTo>
                    <a:pt x="549" y="939"/>
                  </a:lnTo>
                  <a:lnTo>
                    <a:pt x="549" y="946"/>
                  </a:lnTo>
                  <a:lnTo>
                    <a:pt x="619" y="974"/>
                  </a:lnTo>
                  <a:lnTo>
                    <a:pt x="744" y="1078"/>
                  </a:lnTo>
                  <a:lnTo>
                    <a:pt x="751" y="1092"/>
                  </a:lnTo>
                  <a:lnTo>
                    <a:pt x="814" y="1169"/>
                  </a:lnTo>
                  <a:lnTo>
                    <a:pt x="869" y="1238"/>
                  </a:lnTo>
                  <a:lnTo>
                    <a:pt x="890" y="1287"/>
                  </a:lnTo>
                  <a:lnTo>
                    <a:pt x="918" y="1343"/>
                  </a:lnTo>
                  <a:lnTo>
                    <a:pt x="946" y="1447"/>
                  </a:lnTo>
                  <a:lnTo>
                    <a:pt x="953" y="1516"/>
                  </a:lnTo>
                  <a:lnTo>
                    <a:pt x="966" y="1579"/>
                  </a:lnTo>
                  <a:lnTo>
                    <a:pt x="981" y="1725"/>
                  </a:lnTo>
                  <a:lnTo>
                    <a:pt x="966" y="1739"/>
                  </a:lnTo>
                  <a:lnTo>
                    <a:pt x="1008" y="1962"/>
                  </a:lnTo>
                  <a:lnTo>
                    <a:pt x="1008" y="2010"/>
                  </a:lnTo>
                  <a:lnTo>
                    <a:pt x="1015" y="2066"/>
                  </a:lnTo>
                  <a:lnTo>
                    <a:pt x="1043" y="2136"/>
                  </a:lnTo>
                  <a:lnTo>
                    <a:pt x="1064" y="2191"/>
                  </a:lnTo>
                  <a:lnTo>
                    <a:pt x="1099" y="2219"/>
                  </a:lnTo>
                  <a:lnTo>
                    <a:pt x="1141" y="2254"/>
                  </a:lnTo>
                  <a:lnTo>
                    <a:pt x="1182" y="2337"/>
                  </a:lnTo>
                  <a:lnTo>
                    <a:pt x="1196" y="2351"/>
                  </a:lnTo>
                  <a:lnTo>
                    <a:pt x="1217" y="2365"/>
                  </a:lnTo>
                  <a:lnTo>
                    <a:pt x="1273" y="2497"/>
                  </a:lnTo>
                  <a:lnTo>
                    <a:pt x="1280" y="2532"/>
                  </a:lnTo>
                  <a:lnTo>
                    <a:pt x="1335" y="2588"/>
                  </a:lnTo>
                  <a:lnTo>
                    <a:pt x="1363" y="2630"/>
                  </a:lnTo>
                  <a:lnTo>
                    <a:pt x="1384" y="2720"/>
                  </a:lnTo>
                  <a:lnTo>
                    <a:pt x="1405" y="2984"/>
                  </a:lnTo>
                  <a:lnTo>
                    <a:pt x="1370" y="3193"/>
                  </a:lnTo>
                  <a:lnTo>
                    <a:pt x="1363" y="3193"/>
                  </a:lnTo>
                  <a:lnTo>
                    <a:pt x="1363" y="3235"/>
                  </a:lnTo>
                  <a:lnTo>
                    <a:pt x="1328" y="3249"/>
                  </a:lnTo>
                  <a:lnTo>
                    <a:pt x="1314" y="3290"/>
                  </a:lnTo>
                  <a:lnTo>
                    <a:pt x="1342" y="3381"/>
                  </a:lnTo>
                  <a:lnTo>
                    <a:pt x="1370" y="3388"/>
                  </a:lnTo>
                  <a:lnTo>
                    <a:pt x="1405" y="3409"/>
                  </a:lnTo>
                  <a:lnTo>
                    <a:pt x="1405" y="3367"/>
                  </a:lnTo>
                  <a:lnTo>
                    <a:pt x="1447" y="3339"/>
                  </a:lnTo>
                  <a:lnTo>
                    <a:pt x="1600" y="3339"/>
                  </a:lnTo>
                  <a:lnTo>
                    <a:pt x="1739" y="3388"/>
                  </a:lnTo>
                  <a:lnTo>
                    <a:pt x="1787" y="3423"/>
                  </a:lnTo>
                  <a:lnTo>
                    <a:pt x="1801" y="3485"/>
                  </a:lnTo>
                  <a:lnTo>
                    <a:pt x="1787" y="3541"/>
                  </a:lnTo>
                  <a:lnTo>
                    <a:pt x="1794" y="3576"/>
                  </a:lnTo>
                  <a:lnTo>
                    <a:pt x="1773" y="3638"/>
                  </a:lnTo>
                  <a:lnTo>
                    <a:pt x="1739" y="3652"/>
                  </a:lnTo>
                  <a:lnTo>
                    <a:pt x="1711" y="3666"/>
                  </a:lnTo>
                  <a:lnTo>
                    <a:pt x="1822" y="3729"/>
                  </a:lnTo>
                  <a:lnTo>
                    <a:pt x="1989" y="3763"/>
                  </a:lnTo>
                  <a:lnTo>
                    <a:pt x="2121" y="3833"/>
                  </a:lnTo>
                  <a:lnTo>
                    <a:pt x="2163" y="3930"/>
                  </a:lnTo>
                  <a:lnTo>
                    <a:pt x="2184" y="3993"/>
                  </a:lnTo>
                  <a:lnTo>
                    <a:pt x="2309" y="4042"/>
                  </a:lnTo>
                  <a:lnTo>
                    <a:pt x="2295" y="4070"/>
                  </a:lnTo>
                  <a:lnTo>
                    <a:pt x="2330" y="4111"/>
                  </a:lnTo>
                  <a:lnTo>
                    <a:pt x="2358" y="4188"/>
                  </a:lnTo>
                  <a:lnTo>
                    <a:pt x="2386" y="4202"/>
                  </a:lnTo>
                  <a:lnTo>
                    <a:pt x="2421" y="4188"/>
                  </a:lnTo>
                  <a:lnTo>
                    <a:pt x="2476" y="4292"/>
                  </a:lnTo>
                  <a:lnTo>
                    <a:pt x="2462" y="4424"/>
                  </a:lnTo>
                  <a:lnTo>
                    <a:pt x="2421" y="4466"/>
                  </a:lnTo>
                  <a:lnTo>
                    <a:pt x="2379" y="4459"/>
                  </a:lnTo>
                  <a:lnTo>
                    <a:pt x="2330" y="4438"/>
                  </a:lnTo>
                  <a:lnTo>
                    <a:pt x="2316" y="4487"/>
                  </a:lnTo>
                  <a:lnTo>
                    <a:pt x="2316" y="4515"/>
                  </a:lnTo>
                  <a:lnTo>
                    <a:pt x="2323" y="4556"/>
                  </a:lnTo>
                  <a:lnTo>
                    <a:pt x="2393" y="4591"/>
                  </a:lnTo>
                  <a:lnTo>
                    <a:pt x="2413" y="4626"/>
                  </a:lnTo>
                  <a:lnTo>
                    <a:pt x="2427" y="4619"/>
                  </a:lnTo>
                  <a:lnTo>
                    <a:pt x="2476" y="4626"/>
                  </a:lnTo>
                  <a:lnTo>
                    <a:pt x="2476" y="4612"/>
                  </a:lnTo>
                  <a:lnTo>
                    <a:pt x="2511" y="4570"/>
                  </a:lnTo>
                  <a:lnTo>
                    <a:pt x="2497" y="4556"/>
                  </a:lnTo>
                  <a:lnTo>
                    <a:pt x="2497" y="4536"/>
                  </a:lnTo>
                  <a:lnTo>
                    <a:pt x="2518" y="4522"/>
                  </a:lnTo>
                  <a:lnTo>
                    <a:pt x="2615" y="4501"/>
                  </a:lnTo>
                  <a:lnTo>
                    <a:pt x="2643" y="4536"/>
                  </a:lnTo>
                  <a:lnTo>
                    <a:pt x="2685" y="4529"/>
                  </a:lnTo>
                  <a:lnTo>
                    <a:pt x="2907" y="4591"/>
                  </a:lnTo>
                  <a:lnTo>
                    <a:pt x="2914" y="4536"/>
                  </a:lnTo>
                  <a:lnTo>
                    <a:pt x="2956" y="4494"/>
                  </a:lnTo>
                  <a:lnTo>
                    <a:pt x="2970" y="4459"/>
                  </a:lnTo>
                  <a:lnTo>
                    <a:pt x="3019" y="4466"/>
                  </a:lnTo>
                  <a:lnTo>
                    <a:pt x="3068" y="4459"/>
                  </a:lnTo>
                  <a:lnTo>
                    <a:pt x="3179" y="4466"/>
                  </a:lnTo>
                  <a:lnTo>
                    <a:pt x="3179" y="4355"/>
                  </a:lnTo>
                  <a:lnTo>
                    <a:pt x="3130" y="4327"/>
                  </a:lnTo>
                  <a:lnTo>
                    <a:pt x="3109" y="4299"/>
                  </a:lnTo>
                  <a:lnTo>
                    <a:pt x="3095" y="4285"/>
                  </a:lnTo>
                  <a:lnTo>
                    <a:pt x="3130" y="4230"/>
                  </a:lnTo>
                  <a:lnTo>
                    <a:pt x="3130" y="4222"/>
                  </a:lnTo>
                  <a:lnTo>
                    <a:pt x="3116" y="4188"/>
                  </a:lnTo>
                  <a:lnTo>
                    <a:pt x="3151" y="4174"/>
                  </a:lnTo>
                  <a:lnTo>
                    <a:pt x="3179" y="4195"/>
                  </a:lnTo>
                  <a:lnTo>
                    <a:pt x="3207" y="4174"/>
                  </a:lnTo>
                  <a:lnTo>
                    <a:pt x="3234" y="4174"/>
                  </a:lnTo>
                  <a:lnTo>
                    <a:pt x="3262" y="4160"/>
                  </a:lnTo>
                  <a:lnTo>
                    <a:pt x="3297" y="4132"/>
                  </a:lnTo>
                  <a:lnTo>
                    <a:pt x="3283" y="4111"/>
                  </a:lnTo>
                  <a:lnTo>
                    <a:pt x="3339" y="4090"/>
                  </a:lnTo>
                  <a:lnTo>
                    <a:pt x="3374" y="4090"/>
                  </a:lnTo>
                  <a:lnTo>
                    <a:pt x="3401" y="4035"/>
                  </a:lnTo>
                  <a:lnTo>
                    <a:pt x="3408" y="4021"/>
                  </a:lnTo>
                  <a:lnTo>
                    <a:pt x="3457" y="4035"/>
                  </a:lnTo>
                  <a:lnTo>
                    <a:pt x="3478" y="4021"/>
                  </a:lnTo>
                  <a:lnTo>
                    <a:pt x="3492" y="4007"/>
                  </a:lnTo>
                  <a:lnTo>
                    <a:pt x="3492" y="3958"/>
                  </a:lnTo>
                  <a:lnTo>
                    <a:pt x="3457" y="3937"/>
                  </a:lnTo>
                  <a:lnTo>
                    <a:pt x="3443" y="3868"/>
                  </a:lnTo>
                  <a:lnTo>
                    <a:pt x="3478" y="3868"/>
                  </a:lnTo>
                  <a:lnTo>
                    <a:pt x="3499" y="3812"/>
                  </a:lnTo>
                  <a:lnTo>
                    <a:pt x="3513" y="3791"/>
                  </a:lnTo>
                  <a:lnTo>
                    <a:pt x="3457" y="3763"/>
                  </a:lnTo>
                  <a:lnTo>
                    <a:pt x="3457" y="3743"/>
                  </a:lnTo>
                  <a:lnTo>
                    <a:pt x="3422" y="3715"/>
                  </a:lnTo>
                  <a:lnTo>
                    <a:pt x="3394" y="3701"/>
                  </a:lnTo>
                  <a:lnTo>
                    <a:pt x="3429" y="3631"/>
                  </a:lnTo>
                  <a:lnTo>
                    <a:pt x="3443" y="3617"/>
                  </a:lnTo>
                  <a:lnTo>
                    <a:pt x="3492" y="3680"/>
                  </a:lnTo>
                  <a:lnTo>
                    <a:pt x="3499" y="3652"/>
                  </a:lnTo>
                  <a:lnTo>
                    <a:pt x="3513" y="3610"/>
                  </a:lnTo>
                  <a:lnTo>
                    <a:pt x="3568" y="3582"/>
                  </a:lnTo>
                  <a:lnTo>
                    <a:pt x="3638" y="3597"/>
                  </a:lnTo>
                  <a:lnTo>
                    <a:pt x="3631" y="3576"/>
                  </a:lnTo>
                  <a:lnTo>
                    <a:pt x="3652" y="3569"/>
                  </a:lnTo>
                  <a:lnTo>
                    <a:pt x="3700" y="3513"/>
                  </a:lnTo>
                  <a:lnTo>
                    <a:pt x="3742" y="3520"/>
                  </a:lnTo>
                  <a:lnTo>
                    <a:pt x="3742" y="3506"/>
                  </a:lnTo>
                  <a:lnTo>
                    <a:pt x="3742" y="3471"/>
                  </a:lnTo>
                  <a:lnTo>
                    <a:pt x="3728" y="3443"/>
                  </a:lnTo>
                  <a:lnTo>
                    <a:pt x="3700" y="3436"/>
                  </a:lnTo>
                  <a:lnTo>
                    <a:pt x="3728" y="3353"/>
                  </a:lnTo>
                  <a:lnTo>
                    <a:pt x="3728" y="3276"/>
                  </a:lnTo>
                  <a:lnTo>
                    <a:pt x="3756" y="3193"/>
                  </a:lnTo>
                  <a:lnTo>
                    <a:pt x="3763" y="3186"/>
                  </a:lnTo>
                  <a:lnTo>
                    <a:pt x="3784" y="3109"/>
                  </a:lnTo>
                  <a:lnTo>
                    <a:pt x="3735" y="3082"/>
                  </a:lnTo>
                  <a:lnTo>
                    <a:pt x="3708" y="3109"/>
                  </a:lnTo>
                  <a:lnTo>
                    <a:pt x="3687" y="3061"/>
                  </a:lnTo>
                  <a:lnTo>
                    <a:pt x="3693" y="3040"/>
                  </a:lnTo>
                  <a:lnTo>
                    <a:pt x="3673" y="2957"/>
                  </a:lnTo>
                  <a:lnTo>
                    <a:pt x="3687" y="2915"/>
                  </a:lnTo>
                  <a:lnTo>
                    <a:pt x="3742" y="2859"/>
                  </a:lnTo>
                  <a:lnTo>
                    <a:pt x="3805" y="2831"/>
                  </a:lnTo>
                  <a:lnTo>
                    <a:pt x="3840" y="2824"/>
                  </a:lnTo>
                  <a:lnTo>
                    <a:pt x="3881" y="2720"/>
                  </a:lnTo>
                  <a:lnTo>
                    <a:pt x="3881" y="2685"/>
                  </a:lnTo>
                  <a:lnTo>
                    <a:pt x="3902" y="2685"/>
                  </a:lnTo>
                  <a:lnTo>
                    <a:pt x="3965" y="2713"/>
                  </a:lnTo>
                  <a:lnTo>
                    <a:pt x="4021" y="2678"/>
                  </a:lnTo>
                  <a:lnTo>
                    <a:pt x="4062" y="2664"/>
                  </a:lnTo>
                  <a:lnTo>
                    <a:pt x="4146" y="2616"/>
                  </a:lnTo>
                  <a:lnTo>
                    <a:pt x="4153" y="2616"/>
                  </a:lnTo>
                  <a:lnTo>
                    <a:pt x="4181" y="2588"/>
                  </a:lnTo>
                  <a:lnTo>
                    <a:pt x="4132" y="2546"/>
                  </a:lnTo>
                  <a:lnTo>
                    <a:pt x="4118" y="2567"/>
                  </a:lnTo>
                  <a:lnTo>
                    <a:pt x="4097" y="2616"/>
                  </a:lnTo>
                  <a:lnTo>
                    <a:pt x="4035" y="2588"/>
                  </a:lnTo>
                  <a:lnTo>
                    <a:pt x="4021" y="2553"/>
                  </a:lnTo>
                  <a:lnTo>
                    <a:pt x="4035" y="2483"/>
                  </a:lnTo>
                  <a:lnTo>
                    <a:pt x="3986" y="2421"/>
                  </a:lnTo>
                  <a:lnTo>
                    <a:pt x="3937" y="2428"/>
                  </a:lnTo>
                  <a:lnTo>
                    <a:pt x="3930" y="2351"/>
                  </a:lnTo>
                  <a:lnTo>
                    <a:pt x="3916" y="2351"/>
                  </a:lnTo>
                  <a:lnTo>
                    <a:pt x="3860" y="2351"/>
                  </a:lnTo>
                  <a:lnTo>
                    <a:pt x="3854" y="2323"/>
                  </a:lnTo>
                  <a:lnTo>
                    <a:pt x="3902" y="2275"/>
                  </a:lnTo>
                  <a:lnTo>
                    <a:pt x="3958" y="2268"/>
                  </a:lnTo>
                  <a:lnTo>
                    <a:pt x="3972" y="2240"/>
                  </a:lnTo>
                  <a:lnTo>
                    <a:pt x="4027" y="2198"/>
                  </a:lnTo>
                  <a:lnTo>
                    <a:pt x="4048" y="2198"/>
                  </a:lnTo>
                  <a:lnTo>
                    <a:pt x="4048" y="2184"/>
                  </a:lnTo>
                  <a:lnTo>
                    <a:pt x="4027" y="2163"/>
                  </a:lnTo>
                  <a:lnTo>
                    <a:pt x="3958" y="2122"/>
                  </a:lnTo>
                  <a:lnTo>
                    <a:pt x="3986" y="2066"/>
                  </a:lnTo>
                  <a:lnTo>
                    <a:pt x="4048" y="2066"/>
                  </a:lnTo>
                  <a:lnTo>
                    <a:pt x="4062" y="2073"/>
                  </a:lnTo>
                  <a:lnTo>
                    <a:pt x="4090" y="1990"/>
                  </a:lnTo>
                  <a:lnTo>
                    <a:pt x="4160" y="1892"/>
                  </a:lnTo>
                  <a:lnTo>
                    <a:pt x="4118" y="1829"/>
                  </a:lnTo>
                  <a:lnTo>
                    <a:pt x="4132" y="1823"/>
                  </a:lnTo>
                  <a:lnTo>
                    <a:pt x="4160" y="1809"/>
                  </a:lnTo>
                  <a:lnTo>
                    <a:pt x="4215" y="1774"/>
                  </a:lnTo>
                  <a:lnTo>
                    <a:pt x="4215" y="1732"/>
                  </a:lnTo>
                  <a:lnTo>
                    <a:pt x="4285" y="1739"/>
                  </a:lnTo>
                  <a:lnTo>
                    <a:pt x="4313" y="1697"/>
                  </a:lnTo>
                  <a:lnTo>
                    <a:pt x="4327" y="1697"/>
                  </a:lnTo>
                  <a:lnTo>
                    <a:pt x="4327" y="1739"/>
                  </a:lnTo>
                  <a:lnTo>
                    <a:pt x="4361" y="1739"/>
                  </a:lnTo>
                  <a:lnTo>
                    <a:pt x="4361" y="1677"/>
                  </a:lnTo>
                  <a:lnTo>
                    <a:pt x="4389" y="1683"/>
                  </a:lnTo>
                  <a:lnTo>
                    <a:pt x="4424" y="1677"/>
                  </a:lnTo>
                  <a:lnTo>
                    <a:pt x="4361" y="1614"/>
                  </a:lnTo>
                  <a:lnTo>
                    <a:pt x="4354" y="1600"/>
                  </a:lnTo>
                  <a:lnTo>
                    <a:pt x="4313" y="1572"/>
                  </a:lnTo>
                  <a:lnTo>
                    <a:pt x="4278" y="1551"/>
                  </a:lnTo>
                  <a:lnTo>
                    <a:pt x="4229" y="1565"/>
                  </a:lnTo>
                  <a:lnTo>
                    <a:pt x="4229" y="1579"/>
                  </a:lnTo>
                  <a:lnTo>
                    <a:pt x="4167" y="1572"/>
                  </a:lnTo>
                  <a:lnTo>
                    <a:pt x="4132" y="1600"/>
                  </a:lnTo>
                  <a:lnTo>
                    <a:pt x="4125" y="1628"/>
                  </a:lnTo>
                  <a:lnTo>
                    <a:pt x="4083" y="1565"/>
                  </a:lnTo>
                  <a:lnTo>
                    <a:pt x="4035" y="1579"/>
                  </a:lnTo>
                  <a:lnTo>
                    <a:pt x="3986" y="1579"/>
                  </a:lnTo>
                  <a:lnTo>
                    <a:pt x="3930" y="1607"/>
                  </a:lnTo>
                  <a:lnTo>
                    <a:pt x="3916" y="1593"/>
                  </a:lnTo>
                  <a:lnTo>
                    <a:pt x="3881" y="1572"/>
                  </a:lnTo>
                  <a:lnTo>
                    <a:pt x="3833" y="1565"/>
                  </a:lnTo>
                  <a:lnTo>
                    <a:pt x="3791" y="1565"/>
                  </a:lnTo>
                  <a:lnTo>
                    <a:pt x="3728" y="1510"/>
                  </a:lnTo>
                  <a:lnTo>
                    <a:pt x="3673" y="1482"/>
                  </a:lnTo>
                  <a:lnTo>
                    <a:pt x="3673" y="1454"/>
                  </a:lnTo>
                  <a:lnTo>
                    <a:pt x="3652" y="1454"/>
                  </a:lnTo>
                  <a:lnTo>
                    <a:pt x="3603" y="1447"/>
                  </a:lnTo>
                  <a:lnTo>
                    <a:pt x="3561" y="1454"/>
                  </a:lnTo>
                  <a:lnTo>
                    <a:pt x="3554" y="1454"/>
                  </a:lnTo>
                  <a:lnTo>
                    <a:pt x="3499" y="1412"/>
                  </a:lnTo>
                  <a:lnTo>
                    <a:pt x="3464" y="1377"/>
                  </a:lnTo>
                  <a:lnTo>
                    <a:pt x="3422" y="1364"/>
                  </a:lnTo>
                  <a:lnTo>
                    <a:pt x="3339" y="1308"/>
                  </a:lnTo>
                  <a:lnTo>
                    <a:pt x="3339" y="1252"/>
                  </a:lnTo>
                  <a:lnTo>
                    <a:pt x="3339" y="1210"/>
                  </a:lnTo>
                  <a:lnTo>
                    <a:pt x="3283" y="1176"/>
                  </a:lnTo>
                  <a:lnTo>
                    <a:pt x="3304" y="1141"/>
                  </a:lnTo>
                  <a:lnTo>
                    <a:pt x="3248" y="1092"/>
                  </a:lnTo>
                  <a:lnTo>
                    <a:pt x="3228" y="1050"/>
                  </a:lnTo>
                  <a:lnTo>
                    <a:pt x="3234" y="1037"/>
                  </a:lnTo>
                  <a:lnTo>
                    <a:pt x="3248" y="1037"/>
                  </a:lnTo>
                  <a:lnTo>
                    <a:pt x="3241" y="995"/>
                  </a:lnTo>
                  <a:lnTo>
                    <a:pt x="3283" y="988"/>
                  </a:lnTo>
                  <a:lnTo>
                    <a:pt x="3311" y="939"/>
                  </a:lnTo>
                  <a:lnTo>
                    <a:pt x="3367" y="856"/>
                  </a:lnTo>
                  <a:lnTo>
                    <a:pt x="3401" y="786"/>
                  </a:lnTo>
                  <a:lnTo>
                    <a:pt x="3401" y="779"/>
                  </a:lnTo>
                  <a:lnTo>
                    <a:pt x="3394" y="765"/>
                  </a:lnTo>
                  <a:lnTo>
                    <a:pt x="3339" y="765"/>
                  </a:lnTo>
                  <a:lnTo>
                    <a:pt x="3297" y="765"/>
                  </a:lnTo>
                  <a:lnTo>
                    <a:pt x="3248" y="807"/>
                  </a:lnTo>
                  <a:lnTo>
                    <a:pt x="3228" y="814"/>
                  </a:lnTo>
                  <a:lnTo>
                    <a:pt x="3179" y="779"/>
                  </a:lnTo>
                  <a:lnTo>
                    <a:pt x="3130" y="793"/>
                  </a:lnTo>
                  <a:lnTo>
                    <a:pt x="3130" y="786"/>
                  </a:lnTo>
                  <a:lnTo>
                    <a:pt x="3151" y="751"/>
                  </a:lnTo>
                  <a:lnTo>
                    <a:pt x="3179" y="724"/>
                  </a:lnTo>
                  <a:lnTo>
                    <a:pt x="3172" y="696"/>
                  </a:lnTo>
                  <a:lnTo>
                    <a:pt x="3165" y="689"/>
                  </a:lnTo>
                  <a:lnTo>
                    <a:pt x="3081" y="675"/>
                  </a:lnTo>
                  <a:lnTo>
                    <a:pt x="3068" y="696"/>
                  </a:lnTo>
                  <a:lnTo>
                    <a:pt x="3033" y="689"/>
                  </a:lnTo>
                  <a:lnTo>
                    <a:pt x="3019" y="696"/>
                  </a:lnTo>
                  <a:lnTo>
                    <a:pt x="3005" y="682"/>
                  </a:lnTo>
                  <a:lnTo>
                    <a:pt x="2970" y="647"/>
                  </a:lnTo>
                  <a:lnTo>
                    <a:pt x="2921" y="619"/>
                  </a:lnTo>
                  <a:lnTo>
                    <a:pt x="2907" y="612"/>
                  </a:lnTo>
                  <a:lnTo>
                    <a:pt x="2914" y="577"/>
                  </a:lnTo>
                  <a:lnTo>
                    <a:pt x="2866" y="522"/>
                  </a:lnTo>
                  <a:lnTo>
                    <a:pt x="2803" y="577"/>
                  </a:lnTo>
                  <a:lnTo>
                    <a:pt x="2803" y="591"/>
                  </a:lnTo>
                  <a:lnTo>
                    <a:pt x="2768" y="591"/>
                  </a:lnTo>
                  <a:lnTo>
                    <a:pt x="2713" y="598"/>
                  </a:lnTo>
                  <a:lnTo>
                    <a:pt x="2692" y="633"/>
                  </a:lnTo>
                  <a:lnTo>
                    <a:pt x="2650" y="661"/>
                  </a:lnTo>
                  <a:lnTo>
                    <a:pt x="2629" y="689"/>
                  </a:lnTo>
                  <a:lnTo>
                    <a:pt x="2615" y="689"/>
                  </a:lnTo>
                  <a:lnTo>
                    <a:pt x="2490" y="710"/>
                  </a:lnTo>
                  <a:lnTo>
                    <a:pt x="2518" y="751"/>
                  </a:lnTo>
                  <a:lnTo>
                    <a:pt x="2594" y="793"/>
                  </a:lnTo>
                  <a:lnTo>
                    <a:pt x="2594" y="814"/>
                  </a:lnTo>
                  <a:lnTo>
                    <a:pt x="2574" y="821"/>
                  </a:lnTo>
                  <a:lnTo>
                    <a:pt x="2490" y="821"/>
                  </a:lnTo>
                </a:path>
              </a:pathLst>
            </a:custGeom>
            <a:solidFill>
              <a:srgbClr val="E84C22">
                <a:alpha val="74000"/>
              </a:srgbClr>
            </a:solidFill>
            <a:ln w="12700" cap="flat" cmpd="sng">
              <a:solidFill>
                <a:srgbClr val="F47B20"/>
              </a:solidFill>
              <a:bevel/>
              <a:headEnd/>
              <a:tailEnd/>
            </a:ln>
            <a:effectLst/>
          </p:spPr>
          <p:txBody>
            <a:bodyPr wrap="none" anchor="ctr"/>
            <a:lstStyle/>
            <a:p>
              <a:pPr>
                <a:defRPr/>
              </a:pPr>
              <a:endParaRPr lang="en-US" sz="1801">
                <a:solidFill>
                  <a:srgbClr val="001E60"/>
                </a:solidFill>
                <a:latin typeface="Univers LT 47 CondensedLt" panose="02000406040000020003" pitchFamily="2" charset="0"/>
              </a:endParaRPr>
            </a:p>
          </p:txBody>
        </p:sp>
      </p:grpSp>
      <p:sp>
        <p:nvSpPr>
          <p:cNvPr id="19" name="CasellaDiTesto 17">
            <a:extLst>
              <a:ext uri="{FF2B5EF4-FFF2-40B4-BE49-F238E27FC236}">
                <a16:creationId xmlns:a16="http://schemas.microsoft.com/office/drawing/2014/main" id="{E25C1EAA-9B62-F6B3-9D46-C2B1DA2B72EC}"/>
              </a:ext>
            </a:extLst>
          </p:cNvPr>
          <p:cNvSpPr txBox="1"/>
          <p:nvPr/>
        </p:nvSpPr>
        <p:spPr bwMode="auto">
          <a:xfrm>
            <a:off x="921391" y="1028522"/>
            <a:ext cx="10173890" cy="646587"/>
          </a:xfrm>
          <a:prstGeom prst="rect">
            <a:avLst/>
          </a:prstGeom>
          <a:noFill/>
          <a:ln w="9525">
            <a:noFill/>
            <a:miter lim="800000"/>
            <a:headEnd/>
            <a:tailEnd/>
          </a:ln>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11">
              <a:defRPr/>
            </a:pPr>
            <a:r>
              <a:rPr lang="it-IT" sz="1801" dirty="0">
                <a:solidFill>
                  <a:srgbClr val="001E60"/>
                </a:solidFill>
                <a:latin typeface="Source Sans Pro"/>
              </a:rPr>
              <a:t>Risposte alla domanda: </a:t>
            </a:r>
            <a:r>
              <a:rPr lang="it-IT" sz="1801" b="1" dirty="0">
                <a:solidFill>
                  <a:srgbClr val="001E60"/>
                </a:solidFill>
                <a:latin typeface="Source Sans Pro"/>
              </a:rPr>
              <a:t>“Pensando alla Toscana del 2050, quale tra i seguenti aspetti pensi </a:t>
            </a:r>
            <a:br>
              <a:rPr lang="it-IT" sz="1801" b="1" dirty="0">
                <a:solidFill>
                  <a:srgbClr val="001E60"/>
                </a:solidFill>
                <a:latin typeface="Source Sans Pro"/>
              </a:rPr>
            </a:br>
            <a:r>
              <a:rPr lang="it-IT" sz="1801" b="1" dirty="0">
                <a:solidFill>
                  <a:srgbClr val="001E60"/>
                </a:solidFill>
                <a:latin typeface="Source Sans Pro"/>
              </a:rPr>
              <a:t>che subirà i maggiori cambiamenti rispetto a oggi?” </a:t>
            </a:r>
            <a:r>
              <a:rPr lang="it-IT" sz="1801" dirty="0">
                <a:solidFill>
                  <a:srgbClr val="001E60"/>
                </a:solidFill>
                <a:latin typeface="Source Sans Pro"/>
              </a:rPr>
              <a:t>(% delle risposte, popolazione generale), 2024</a:t>
            </a:r>
          </a:p>
        </p:txBody>
      </p:sp>
      <p:graphicFrame>
        <p:nvGraphicFramePr>
          <p:cNvPr id="20" name="Grafico 19">
            <a:extLst>
              <a:ext uri="{FF2B5EF4-FFF2-40B4-BE49-F238E27FC236}">
                <a16:creationId xmlns:a16="http://schemas.microsoft.com/office/drawing/2014/main" id="{D5680342-6005-415B-A01B-1BEFCFD6C58C}"/>
              </a:ext>
            </a:extLst>
          </p:cNvPr>
          <p:cNvGraphicFramePr>
            <a:graphicFrameLocks/>
          </p:cNvGraphicFramePr>
          <p:nvPr>
            <p:extLst>
              <p:ext uri="{D42A27DB-BD31-4B8C-83A1-F6EECF244321}">
                <p14:modId xmlns:p14="http://schemas.microsoft.com/office/powerpoint/2010/main" val="3313610506"/>
              </p:ext>
            </p:extLst>
          </p:nvPr>
        </p:nvGraphicFramePr>
        <p:xfrm>
          <a:off x="212649" y="1717642"/>
          <a:ext cx="7268978" cy="4554882"/>
        </p:xfrm>
        <a:graphic>
          <a:graphicData uri="http://schemas.openxmlformats.org/drawingml/2006/chart">
            <c:chart xmlns:c="http://schemas.openxmlformats.org/drawingml/2006/chart" xmlns:r="http://schemas.openxmlformats.org/officeDocument/2006/relationships" r:id="rId3"/>
          </a:graphicData>
        </a:graphic>
      </p:graphicFrame>
      <p:sp>
        <p:nvSpPr>
          <p:cNvPr id="22" name="CasellaDiTesto 21">
            <a:extLst>
              <a:ext uri="{FF2B5EF4-FFF2-40B4-BE49-F238E27FC236}">
                <a16:creationId xmlns:a16="http://schemas.microsoft.com/office/drawing/2014/main" id="{3B1A39E4-48A0-DB44-AA36-A565084F7B68}"/>
              </a:ext>
            </a:extLst>
          </p:cNvPr>
          <p:cNvSpPr txBox="1"/>
          <p:nvPr/>
        </p:nvSpPr>
        <p:spPr>
          <a:xfrm>
            <a:off x="7931703" y="2657234"/>
            <a:ext cx="3973269" cy="3306161"/>
          </a:xfrm>
          <a:prstGeom prst="rect">
            <a:avLst/>
          </a:prstGeom>
          <a:solidFill>
            <a:schemeClr val="accent1">
              <a:lumMod val="20000"/>
              <a:lumOff val="80000"/>
            </a:schemeClr>
          </a:solidFill>
        </p:spPr>
        <p:txBody>
          <a:bodyPr wrap="square" anchor="ctr">
            <a:spAutoFit/>
          </a:bodyPr>
          <a:lstStyle/>
          <a:p>
            <a:pPr marL="285750" indent="-285750">
              <a:lnSpc>
                <a:spcPct val="114000"/>
              </a:lnSpc>
              <a:spcBef>
                <a:spcPts val="600"/>
              </a:spcBef>
              <a:buClr>
                <a:srgbClr val="F47B20"/>
              </a:buClr>
              <a:buFont typeface="Arial" panose="020B0604020202020204" pitchFamily="34" charset="0"/>
              <a:buChar char="•"/>
            </a:pPr>
            <a:r>
              <a:rPr lang="it-IT" sz="2000" kern="0" dirty="0">
                <a:solidFill>
                  <a:srgbClr val="001E60"/>
                </a:solidFill>
                <a:effectLst/>
                <a:latin typeface="Source Sans Pro" panose="020B0503030403020204" pitchFamily="34" charset="0"/>
                <a:ea typeface="Times New Roman" panose="02020603050405020304" pitchFamily="18" charset="0"/>
                <a:cs typeface="Times New Roman" panose="02020603050405020304" pitchFamily="18" charset="0"/>
              </a:rPr>
              <a:t>Tra i </a:t>
            </a:r>
            <a:r>
              <a:rPr lang="it-IT" sz="2000" b="1" kern="0" dirty="0">
                <a:solidFill>
                  <a:srgbClr val="001E60"/>
                </a:solidFill>
                <a:effectLst/>
                <a:latin typeface="Source Sans Pro" panose="020B0503030403020204" pitchFamily="34" charset="0"/>
                <a:ea typeface="Times New Roman" panose="02020603050405020304" pitchFamily="18" charset="0"/>
                <a:cs typeface="Times New Roman" panose="02020603050405020304" pitchFamily="18" charset="0"/>
              </a:rPr>
              <a:t>giovani toscani di 15-19 anni</a:t>
            </a:r>
            <a:r>
              <a:rPr lang="it-IT" sz="2000" kern="0" dirty="0">
                <a:solidFill>
                  <a:srgbClr val="001E60"/>
                </a:solidFill>
                <a:effectLst/>
                <a:latin typeface="Source Sans Pro" panose="020B0503030403020204" pitchFamily="34" charset="0"/>
                <a:ea typeface="Times New Roman" panose="02020603050405020304" pitchFamily="18" charset="0"/>
                <a:cs typeface="Times New Roman" panose="02020603050405020304" pitchFamily="18" charset="0"/>
              </a:rPr>
              <a:t>, al 1° posto si posiziona l’</a:t>
            </a:r>
            <a:r>
              <a:rPr lang="it-IT" sz="2000" b="1" kern="0" dirty="0">
                <a:solidFill>
                  <a:srgbClr val="001E60"/>
                </a:solidFill>
                <a:effectLst/>
                <a:latin typeface="Source Sans Pro" panose="020B0503030403020204" pitchFamily="34" charset="0"/>
                <a:ea typeface="Times New Roman" panose="02020603050405020304" pitchFamily="18" charset="0"/>
                <a:cs typeface="Times New Roman" panose="02020603050405020304" pitchFamily="18" charset="0"/>
              </a:rPr>
              <a:t>impiego delle risorse naturali</a:t>
            </a:r>
            <a:r>
              <a:rPr lang="it-IT" sz="2000" b="1" kern="0" dirty="0">
                <a:solidFill>
                  <a:srgbClr val="001E60"/>
                </a:solidFill>
                <a:latin typeface="Source Sans Pro" panose="020B0503030403020204" pitchFamily="34" charset="0"/>
                <a:ea typeface="Times New Roman" panose="02020603050405020304" pitchFamily="18" charset="0"/>
                <a:cs typeface="Times New Roman" panose="02020603050405020304" pitchFamily="18" charset="0"/>
              </a:rPr>
              <a:t> (19,8%)</a:t>
            </a:r>
            <a:r>
              <a:rPr lang="it-IT" sz="2000" kern="0" dirty="0">
                <a:solidFill>
                  <a:srgbClr val="001E60"/>
                </a:solidFill>
                <a:effectLst/>
                <a:latin typeface="Source Sans Pro" panose="020B0503030403020204" pitchFamily="34" charset="0"/>
                <a:ea typeface="Times New Roman" panose="02020603050405020304" pitchFamily="18" charset="0"/>
                <a:cs typeface="Times New Roman" panose="02020603050405020304" pitchFamily="18" charset="0"/>
              </a:rPr>
              <a:t> con una quota simile a quella della popolazione generale</a:t>
            </a:r>
          </a:p>
          <a:p>
            <a:pPr marL="285750" indent="-285750">
              <a:lnSpc>
                <a:spcPct val="114000"/>
              </a:lnSpc>
              <a:spcBef>
                <a:spcPts val="600"/>
              </a:spcBef>
              <a:buClr>
                <a:srgbClr val="F47B20"/>
              </a:buClr>
              <a:buFont typeface="Arial" panose="020B0604020202020204" pitchFamily="34" charset="0"/>
              <a:buChar char="•"/>
            </a:pPr>
            <a:r>
              <a:rPr lang="it-IT" sz="2000" kern="0" dirty="0">
                <a:solidFill>
                  <a:srgbClr val="001E60"/>
                </a:solidFill>
                <a:latin typeface="Source Sans Pro" panose="020B0503030403020204" pitchFamily="34" charset="0"/>
                <a:ea typeface="Times New Roman" panose="02020603050405020304" pitchFamily="18" charset="0"/>
                <a:cs typeface="Times New Roman" panose="02020603050405020304" pitchFamily="18" charset="0"/>
              </a:rPr>
              <a:t>Seguono il </a:t>
            </a:r>
            <a:r>
              <a:rPr lang="it-IT" sz="2000" kern="0" dirty="0">
                <a:solidFill>
                  <a:srgbClr val="001E60"/>
                </a:solidFill>
                <a:effectLst/>
                <a:latin typeface="Source Sans Pro" panose="020B0503030403020204" pitchFamily="34" charset="0"/>
                <a:ea typeface="Times New Roman" panose="02020603050405020304" pitchFamily="18" charset="0"/>
                <a:cs typeface="Times New Roman" panose="02020603050405020304" pitchFamily="18" charset="0"/>
              </a:rPr>
              <a:t>cambiamento nel </a:t>
            </a:r>
            <a:r>
              <a:rPr lang="it-IT" sz="2000" b="1" kern="0" dirty="0">
                <a:solidFill>
                  <a:srgbClr val="001E60"/>
                </a:solidFill>
                <a:effectLst/>
                <a:latin typeface="Source Sans Pro" panose="020B0503030403020204" pitchFamily="34" charset="0"/>
                <a:ea typeface="Times New Roman" panose="02020603050405020304" pitchFamily="18" charset="0"/>
                <a:cs typeface="Times New Roman" panose="02020603050405020304" pitchFamily="18" charset="0"/>
              </a:rPr>
              <a:t>mondo del</a:t>
            </a:r>
            <a:r>
              <a:rPr lang="it-IT" sz="2000" kern="0" dirty="0">
                <a:solidFill>
                  <a:srgbClr val="001E60"/>
                </a:solidFill>
                <a:effectLst/>
                <a:latin typeface="Source Sans Pro" panose="020B0503030403020204" pitchFamily="34" charset="0"/>
                <a:ea typeface="Times New Roman" panose="02020603050405020304" pitchFamily="18" charset="0"/>
                <a:cs typeface="Times New Roman" panose="02020603050405020304" pitchFamily="18" charset="0"/>
              </a:rPr>
              <a:t> </a:t>
            </a:r>
            <a:r>
              <a:rPr lang="it-IT" sz="2000" b="1" kern="0" dirty="0">
                <a:solidFill>
                  <a:srgbClr val="001E60"/>
                </a:solidFill>
                <a:effectLst/>
                <a:latin typeface="Source Sans Pro" panose="020B0503030403020204" pitchFamily="34" charset="0"/>
                <a:ea typeface="Times New Roman" panose="02020603050405020304" pitchFamily="18" charset="0"/>
                <a:cs typeface="Times New Roman" panose="02020603050405020304" pitchFamily="18" charset="0"/>
              </a:rPr>
              <a:t>lavoro (19,4%) e della salute (18,7%)</a:t>
            </a:r>
            <a:endParaRPr lang="it-IT" sz="2000" dirty="0">
              <a:solidFill>
                <a:srgbClr val="001E60"/>
              </a:solidFill>
            </a:endParaRPr>
          </a:p>
        </p:txBody>
      </p:sp>
      <p:cxnSp>
        <p:nvCxnSpPr>
          <p:cNvPr id="24" name="Connettore a gomito 23">
            <a:extLst>
              <a:ext uri="{FF2B5EF4-FFF2-40B4-BE49-F238E27FC236}">
                <a16:creationId xmlns:a16="http://schemas.microsoft.com/office/drawing/2014/main" id="{6709DC03-2CA0-976B-AE8C-7315943761C2}"/>
              </a:ext>
            </a:extLst>
          </p:cNvPr>
          <p:cNvCxnSpPr>
            <a:cxnSpLocks/>
            <a:endCxn id="22" idx="0"/>
          </p:cNvCxnSpPr>
          <p:nvPr/>
        </p:nvCxnSpPr>
        <p:spPr>
          <a:xfrm>
            <a:off x="6858000" y="2232837"/>
            <a:ext cx="3060338" cy="424397"/>
          </a:xfrm>
          <a:prstGeom prst="bentConnector2">
            <a:avLst/>
          </a:prstGeom>
          <a:ln>
            <a:solidFill>
              <a:srgbClr val="F47B2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00850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113423-AAA6-82E0-17F9-76F8B7BD9CB4}"/>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DFCD33F6-D225-1BD2-FA3D-35E1D6722F7D}"/>
              </a:ext>
            </a:extLst>
          </p:cNvPr>
          <p:cNvSpPr>
            <a:spLocks noGrp="1"/>
          </p:cNvSpPr>
          <p:nvPr>
            <p:ph type="title"/>
          </p:nvPr>
        </p:nvSpPr>
        <p:spPr>
          <a:xfrm>
            <a:off x="403313" y="206101"/>
            <a:ext cx="11379820" cy="553198"/>
          </a:xfrm>
        </p:spPr>
        <p:txBody>
          <a:bodyPr/>
          <a:lstStyle/>
          <a:p>
            <a:r>
              <a:rPr lang="it-IT" sz="2800" dirty="0">
                <a:solidFill>
                  <a:srgbClr val="C00000"/>
                </a:solidFill>
              </a:rPr>
              <a:t>COSA FARE:</a:t>
            </a:r>
            <a:r>
              <a:rPr lang="it-IT" sz="2800" dirty="0"/>
              <a:t> il progetto-bandiera “AI for </a:t>
            </a:r>
            <a:r>
              <a:rPr lang="it-IT" sz="2800" dirty="0" err="1"/>
              <a:t>Tuscany</a:t>
            </a:r>
            <a:r>
              <a:rPr lang="it-IT" sz="2800" dirty="0"/>
              <a:t>”</a:t>
            </a:r>
            <a:endParaRPr lang="it-IT" sz="2800" b="1" dirty="0"/>
          </a:p>
        </p:txBody>
      </p:sp>
      <p:sp>
        <p:nvSpPr>
          <p:cNvPr id="3" name="Segnaposto contenuto 2">
            <a:extLst>
              <a:ext uri="{FF2B5EF4-FFF2-40B4-BE49-F238E27FC236}">
                <a16:creationId xmlns:a16="http://schemas.microsoft.com/office/drawing/2014/main" id="{613F232E-9195-7EF1-B2F3-3D79DA9349BD}"/>
              </a:ext>
            </a:extLst>
          </p:cNvPr>
          <p:cNvSpPr>
            <a:spLocks noGrp="1"/>
          </p:cNvSpPr>
          <p:nvPr>
            <p:ph sz="quarter" idx="11"/>
          </p:nvPr>
        </p:nvSpPr>
        <p:spPr>
          <a:xfrm>
            <a:off x="1007091" y="2132467"/>
            <a:ext cx="10776044" cy="4069081"/>
          </a:xfrm>
        </p:spPr>
        <p:txBody>
          <a:bodyPr/>
          <a:lstStyle/>
          <a:p>
            <a:pPr marL="97201" indent="0">
              <a:spcBef>
                <a:spcPts val="300"/>
              </a:spcBef>
              <a:spcAft>
                <a:spcPts val="300"/>
              </a:spcAft>
              <a:buNone/>
            </a:pPr>
            <a:r>
              <a:rPr lang="it-IT" sz="2000" b="1" dirty="0">
                <a:cs typeface="Times New Roman" panose="02020603050405020304" pitchFamily="18" charset="0"/>
              </a:rPr>
              <a:t>AZIONI-CHIAVE:</a:t>
            </a:r>
          </a:p>
          <a:p>
            <a:pPr marL="97201" indent="0" algn="just">
              <a:spcBef>
                <a:spcPts val="1801"/>
              </a:spcBef>
              <a:spcAft>
                <a:spcPts val="1801"/>
              </a:spcAft>
              <a:buNone/>
            </a:pPr>
            <a:r>
              <a:rPr lang="it-IT" sz="2000" dirty="0">
                <a:ea typeface="Times New Roman" panose="02020603050405020304" pitchFamily="18" charset="0"/>
                <a:cs typeface="Times New Roman" panose="02020603050405020304" pitchFamily="18" charset="0"/>
              </a:rPr>
              <a:t>Creare un </a:t>
            </a:r>
            <a:r>
              <a:rPr lang="it-IT" sz="2000" b="1" dirty="0">
                <a:ea typeface="Times New Roman" panose="02020603050405020304" pitchFamily="18" charset="0"/>
                <a:cs typeface="Times New Roman" panose="02020603050405020304" pitchFamily="18" charset="0"/>
              </a:rPr>
              <a:t>centro di ricerca sull’IA applicata alla Manifattura e al Turismo</a:t>
            </a:r>
          </a:p>
          <a:p>
            <a:pPr marL="97201" indent="0" algn="just">
              <a:spcBef>
                <a:spcPts val="1801"/>
              </a:spcBef>
              <a:spcAft>
                <a:spcPts val="1801"/>
              </a:spcAft>
              <a:buNone/>
            </a:pPr>
            <a:r>
              <a:rPr lang="it-IT" sz="2000" dirty="0">
                <a:ea typeface="Times New Roman" panose="02020603050405020304" pitchFamily="18" charset="0"/>
                <a:cs typeface="Times New Roman" panose="02020603050405020304" pitchFamily="18" charset="0"/>
              </a:rPr>
              <a:t>Avviare sperimentazioni sull’introduzione di automazione e IA in azienda per una maggiore efficienza dell’organico e la </a:t>
            </a:r>
            <a:r>
              <a:rPr lang="it-IT" sz="2000" b="1" dirty="0">
                <a:ea typeface="Times New Roman" panose="02020603050405020304" pitchFamily="18" charset="0"/>
                <a:cs typeface="Times New Roman" panose="02020603050405020304" pitchFamily="18" charset="0"/>
              </a:rPr>
              <a:t>focalizzazione della forza lavoro su funzioni ad alto contenuto tecnologico</a:t>
            </a:r>
          </a:p>
          <a:p>
            <a:pPr marL="97201" indent="0" algn="just">
              <a:spcBef>
                <a:spcPts val="1801"/>
              </a:spcBef>
              <a:spcAft>
                <a:spcPts val="1801"/>
              </a:spcAft>
              <a:buNone/>
            </a:pPr>
            <a:r>
              <a:rPr lang="it-IT" sz="2000" dirty="0">
                <a:ea typeface="Times New Roman" panose="02020603050405020304" pitchFamily="18" charset="0"/>
                <a:cs typeface="Times New Roman" panose="02020603050405020304" pitchFamily="18" charset="0"/>
              </a:rPr>
              <a:t>Ripensare i </a:t>
            </a:r>
            <a:r>
              <a:rPr lang="it-IT" sz="2000" b="1" dirty="0">
                <a:ea typeface="Times New Roman" panose="02020603050405020304" pitchFamily="18" charset="0"/>
                <a:cs typeface="Times New Roman" panose="02020603050405020304" pitchFamily="18" charset="0"/>
              </a:rPr>
              <a:t>distretti produttivi in chiave reticolare </a:t>
            </a:r>
            <a:r>
              <a:rPr lang="it-IT" sz="2000" dirty="0">
                <a:ea typeface="Times New Roman" panose="02020603050405020304" pitchFamily="18" charset="0"/>
                <a:cs typeface="Times New Roman" panose="02020603050405020304" pitchFamily="18" charset="0"/>
              </a:rPr>
              <a:t>con la valorizzazione di </a:t>
            </a:r>
            <a:r>
              <a:rPr lang="it-IT" sz="2000" b="1" i="1" dirty="0">
                <a:ea typeface="Times New Roman" panose="02020603050405020304" pitchFamily="18" charset="0"/>
                <a:cs typeface="Times New Roman" panose="02020603050405020304" pitchFamily="18" charset="0"/>
              </a:rPr>
              <a:t>start-up</a:t>
            </a:r>
            <a:r>
              <a:rPr lang="it-IT" sz="2000" dirty="0">
                <a:ea typeface="Times New Roman" panose="02020603050405020304" pitchFamily="18" charset="0"/>
                <a:cs typeface="Times New Roman" panose="02020603050405020304" pitchFamily="18" charset="0"/>
              </a:rPr>
              <a:t> e centri formativi su </a:t>
            </a:r>
            <a:r>
              <a:rPr lang="it-IT" sz="2000" b="1" dirty="0">
                <a:ea typeface="Times New Roman" panose="02020603050405020304" pitchFamily="18" charset="0"/>
                <a:cs typeface="Times New Roman" panose="02020603050405020304" pitchFamily="18" charset="0"/>
              </a:rPr>
              <a:t>discipline STEM</a:t>
            </a:r>
            <a:endParaRPr lang="it-IT" sz="2000" b="1" i="1" dirty="0">
              <a:ea typeface="Times New Roman" panose="02020603050405020304" pitchFamily="18" charset="0"/>
              <a:cs typeface="Times New Roman" panose="02020603050405020304" pitchFamily="18" charset="0"/>
            </a:endParaRPr>
          </a:p>
        </p:txBody>
      </p:sp>
      <p:sp>
        <p:nvSpPr>
          <p:cNvPr id="4" name="Rettangolo 3">
            <a:extLst>
              <a:ext uri="{FF2B5EF4-FFF2-40B4-BE49-F238E27FC236}">
                <a16:creationId xmlns:a16="http://schemas.microsoft.com/office/drawing/2014/main" id="{6173ACD3-232B-4E1F-8107-1B44B42D6A92}"/>
              </a:ext>
            </a:extLst>
          </p:cNvPr>
          <p:cNvSpPr/>
          <p:nvPr/>
        </p:nvSpPr>
        <p:spPr>
          <a:xfrm>
            <a:off x="403314" y="991044"/>
            <a:ext cx="11380700" cy="913132"/>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201" i="1" dirty="0">
                <a:solidFill>
                  <a:srgbClr val="001E60"/>
                </a:solidFill>
              </a:rPr>
              <a:t>Integrare le soluzioni dell’</a:t>
            </a:r>
            <a:r>
              <a:rPr lang="it-IT" sz="2201" b="1" i="1" dirty="0">
                <a:solidFill>
                  <a:srgbClr val="001E60"/>
                </a:solidFill>
              </a:rPr>
              <a:t>Intelligenza Artificiale </a:t>
            </a:r>
            <a:r>
              <a:rPr lang="it-IT" sz="2201" i="1" dirty="0">
                <a:solidFill>
                  <a:srgbClr val="001E60"/>
                </a:solidFill>
              </a:rPr>
              <a:t>nel </a:t>
            </a:r>
            <a:r>
              <a:rPr lang="it-IT" sz="2201" b="1" i="1" dirty="0">
                <a:solidFill>
                  <a:srgbClr val="001E60"/>
                </a:solidFill>
              </a:rPr>
              <a:t>sistema industriale e terziario </a:t>
            </a:r>
            <a:r>
              <a:rPr lang="it-IT" sz="2201" i="1" dirty="0">
                <a:solidFill>
                  <a:srgbClr val="001E60"/>
                </a:solidFill>
              </a:rPr>
              <a:t>per una maggiore </a:t>
            </a:r>
            <a:r>
              <a:rPr lang="it-IT" sz="2201" b="1" i="1" dirty="0">
                <a:solidFill>
                  <a:srgbClr val="001E60"/>
                </a:solidFill>
              </a:rPr>
              <a:t>produttività</a:t>
            </a:r>
            <a:r>
              <a:rPr lang="it-IT" sz="2201" i="1" dirty="0">
                <a:solidFill>
                  <a:srgbClr val="001E60"/>
                </a:solidFill>
              </a:rPr>
              <a:t> e maggiore </a:t>
            </a:r>
            <a:r>
              <a:rPr lang="it-IT" sz="2201" b="1" i="1" dirty="0">
                <a:solidFill>
                  <a:srgbClr val="001E60"/>
                </a:solidFill>
              </a:rPr>
              <a:t>benessere</a:t>
            </a:r>
            <a:r>
              <a:rPr lang="it-IT" sz="2201" i="1" dirty="0">
                <a:solidFill>
                  <a:srgbClr val="001E60"/>
                </a:solidFill>
              </a:rPr>
              <a:t> per i lavoratori</a:t>
            </a:r>
          </a:p>
        </p:txBody>
      </p:sp>
      <p:sp>
        <p:nvSpPr>
          <p:cNvPr id="5" name="Segnaposto testo 3">
            <a:extLst>
              <a:ext uri="{FF2B5EF4-FFF2-40B4-BE49-F238E27FC236}">
                <a16:creationId xmlns:a16="http://schemas.microsoft.com/office/drawing/2014/main" id="{F19E157B-F10F-A950-186F-E2723DF3E4ED}"/>
              </a:ext>
            </a:extLst>
          </p:cNvPr>
          <p:cNvSpPr>
            <a:spLocks noGrp="1"/>
          </p:cNvSpPr>
          <p:nvPr>
            <p:ph type="body" sz="quarter" idx="10"/>
          </p:nvPr>
        </p:nvSpPr>
        <p:spPr>
          <a:xfrm>
            <a:off x="1595888" y="6512995"/>
            <a:ext cx="8488363" cy="277812"/>
          </a:xfrm>
        </p:spPr>
        <p:txBody>
          <a:bodyPr/>
          <a:lstStyle/>
          <a:p>
            <a:r>
              <a:rPr lang="it-IT" dirty="0"/>
              <a:t>Fonte: elaborazione TEHA Group</a:t>
            </a:r>
            <a:r>
              <a:rPr lang="en-US" dirty="0"/>
              <a:t>, 2025</a:t>
            </a:r>
            <a:endParaRPr lang="it-IT" dirty="0"/>
          </a:p>
        </p:txBody>
      </p:sp>
      <p:pic>
        <p:nvPicPr>
          <p:cNvPr id="7" name="Picture 4" descr="Artificial intelligence ">
            <a:extLst>
              <a:ext uri="{FF2B5EF4-FFF2-40B4-BE49-F238E27FC236}">
                <a16:creationId xmlns:a16="http://schemas.microsoft.com/office/drawing/2014/main" id="{DE8BAF00-B10A-142C-9D62-62BB3CDE3C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377" y="2461236"/>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Challenge ">
            <a:extLst>
              <a:ext uri="{FF2B5EF4-FFF2-40B4-BE49-F238E27FC236}">
                <a16:creationId xmlns:a16="http://schemas.microsoft.com/office/drawing/2014/main" id="{92FFCF83-8B53-2511-C18F-AFCE9261CF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377" y="3280717"/>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Neural ">
            <a:extLst>
              <a:ext uri="{FF2B5EF4-FFF2-40B4-BE49-F238E27FC236}">
                <a16:creationId xmlns:a16="http://schemas.microsoft.com/office/drawing/2014/main" id="{2DDECCCD-4CB1-FB5C-3A53-31DD6C711E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194" y="4265010"/>
            <a:ext cx="786820" cy="786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8266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204A7-EDD1-DFD1-BDAA-3036DE9E856D}"/>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9B336CB3-5B7B-83AF-D0FF-4ADEAD72C249}"/>
              </a:ext>
            </a:extLst>
          </p:cNvPr>
          <p:cNvSpPr>
            <a:spLocks noGrp="1"/>
          </p:cNvSpPr>
          <p:nvPr>
            <p:ph type="title"/>
          </p:nvPr>
        </p:nvSpPr>
        <p:spPr>
          <a:xfrm>
            <a:off x="403313" y="206101"/>
            <a:ext cx="11379820" cy="553198"/>
          </a:xfrm>
        </p:spPr>
        <p:txBody>
          <a:bodyPr/>
          <a:lstStyle/>
          <a:p>
            <a:r>
              <a:rPr lang="it-IT" sz="2800" dirty="0"/>
              <a:t>L’adozione massiva di sistemi di Intelligenza Artificiale comporterà una revisione delle competenze da utilizzare sul lavoro</a:t>
            </a:r>
            <a:endParaRPr lang="it-IT" sz="2800" b="1" dirty="0"/>
          </a:p>
        </p:txBody>
      </p:sp>
      <p:sp>
        <p:nvSpPr>
          <p:cNvPr id="11" name="Segnaposto testo 2">
            <a:extLst>
              <a:ext uri="{FF2B5EF4-FFF2-40B4-BE49-F238E27FC236}">
                <a16:creationId xmlns:a16="http://schemas.microsoft.com/office/drawing/2014/main" id="{130AF7BD-8FCD-BBE5-E9C4-C6A91FDC0DE8}"/>
              </a:ext>
            </a:extLst>
          </p:cNvPr>
          <p:cNvSpPr txBox="1">
            <a:spLocks/>
          </p:cNvSpPr>
          <p:nvPr/>
        </p:nvSpPr>
        <p:spPr>
          <a:xfrm>
            <a:off x="1608674" y="6520026"/>
            <a:ext cx="9421812" cy="29758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11">
              <a:spcBef>
                <a:spcPts val="1001"/>
              </a:spcBef>
              <a:defRPr/>
            </a:pPr>
            <a:r>
              <a:rPr lang="it-IT" dirty="0">
                <a:solidFill>
                  <a:prstClr val="white">
                    <a:lumMod val="50000"/>
                  </a:prstClr>
                </a:solidFill>
              </a:rPr>
              <a:t>Fonte: elaborazione TEHA Group su studio della Pennsylvania University e LinkedIn, «</a:t>
            </a:r>
            <a:r>
              <a:rPr lang="it-IT" i="1" dirty="0" err="1">
                <a:solidFill>
                  <a:prstClr val="white">
                    <a:lumMod val="50000"/>
                  </a:prstClr>
                </a:solidFill>
              </a:rPr>
              <a:t>Workplace</a:t>
            </a:r>
            <a:r>
              <a:rPr lang="it-IT" i="1" dirty="0">
                <a:solidFill>
                  <a:prstClr val="white">
                    <a:lumMod val="50000"/>
                  </a:prstClr>
                </a:solidFill>
              </a:rPr>
              <a:t> Learning Report</a:t>
            </a:r>
            <a:r>
              <a:rPr lang="it-IT" dirty="0">
                <a:solidFill>
                  <a:prstClr val="white">
                    <a:lumMod val="50000"/>
                  </a:prstClr>
                </a:solidFill>
              </a:rPr>
              <a:t>», 2025</a:t>
            </a:r>
          </a:p>
        </p:txBody>
      </p:sp>
      <p:sp>
        <p:nvSpPr>
          <p:cNvPr id="12" name="CasellaDiTesto 17">
            <a:extLst>
              <a:ext uri="{FF2B5EF4-FFF2-40B4-BE49-F238E27FC236}">
                <a16:creationId xmlns:a16="http://schemas.microsoft.com/office/drawing/2014/main" id="{E4361D2B-2FAF-69F7-9EE9-5B12D6B48EA8}"/>
              </a:ext>
            </a:extLst>
          </p:cNvPr>
          <p:cNvSpPr txBox="1"/>
          <p:nvPr/>
        </p:nvSpPr>
        <p:spPr bwMode="auto">
          <a:xfrm>
            <a:off x="1009057" y="2431401"/>
            <a:ext cx="10173890" cy="369460"/>
          </a:xfrm>
          <a:prstGeom prst="rect">
            <a:avLst/>
          </a:prstGeom>
          <a:noFill/>
          <a:ln w="9525">
            <a:noFill/>
            <a:miter lim="800000"/>
            <a:headEnd/>
            <a:tailEnd/>
          </a:ln>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11">
              <a:defRPr/>
            </a:pPr>
            <a:r>
              <a:rPr lang="it-IT" sz="1801" b="1" dirty="0">
                <a:solidFill>
                  <a:srgbClr val="001E60"/>
                </a:solidFill>
                <a:latin typeface="Source Sans Pro"/>
              </a:rPr>
              <a:t>Impatto dell’Intelligenza Artificiale sui lavoratori negli USA </a:t>
            </a:r>
            <a:r>
              <a:rPr lang="it-IT" sz="1801" dirty="0">
                <a:solidFill>
                  <a:srgbClr val="001E60"/>
                </a:solidFill>
                <a:latin typeface="Source Sans Pro"/>
              </a:rPr>
              <a:t>(%) al 2030</a:t>
            </a:r>
          </a:p>
        </p:txBody>
      </p:sp>
      <p:graphicFrame>
        <p:nvGraphicFramePr>
          <p:cNvPr id="22" name="Grafico 21">
            <a:extLst>
              <a:ext uri="{FF2B5EF4-FFF2-40B4-BE49-F238E27FC236}">
                <a16:creationId xmlns:a16="http://schemas.microsoft.com/office/drawing/2014/main" id="{258E6158-CA3E-9BFC-04FD-A0D8BB5C934A}"/>
              </a:ext>
            </a:extLst>
          </p:cNvPr>
          <p:cNvGraphicFramePr/>
          <p:nvPr/>
        </p:nvGraphicFramePr>
        <p:xfrm>
          <a:off x="2646553" y="2684294"/>
          <a:ext cx="5954713" cy="1572971"/>
        </p:xfrm>
        <a:graphic>
          <a:graphicData uri="http://schemas.openxmlformats.org/drawingml/2006/chart">
            <c:chart xmlns:c="http://schemas.openxmlformats.org/drawingml/2006/chart" xmlns:r="http://schemas.openxmlformats.org/officeDocument/2006/relationships" r:id="rId3"/>
          </a:graphicData>
        </a:graphic>
      </p:graphicFrame>
      <p:sp>
        <p:nvSpPr>
          <p:cNvPr id="23" name="Freccia in giù 22">
            <a:extLst>
              <a:ext uri="{FF2B5EF4-FFF2-40B4-BE49-F238E27FC236}">
                <a16:creationId xmlns:a16="http://schemas.microsoft.com/office/drawing/2014/main" id="{7BC63273-2D76-3287-9012-826A9DB9182F}"/>
              </a:ext>
            </a:extLst>
          </p:cNvPr>
          <p:cNvSpPr/>
          <p:nvPr/>
        </p:nvSpPr>
        <p:spPr>
          <a:xfrm rot="2627590">
            <a:off x="2911655" y="3941873"/>
            <a:ext cx="345628" cy="564025"/>
          </a:xfrm>
          <a:prstGeom prst="downArrow">
            <a:avLst/>
          </a:prstGeom>
          <a:solidFill>
            <a:srgbClr val="F47B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801"/>
          </a:p>
        </p:txBody>
      </p:sp>
      <p:sp>
        <p:nvSpPr>
          <p:cNvPr id="24" name="Rettangolo 23">
            <a:extLst>
              <a:ext uri="{FF2B5EF4-FFF2-40B4-BE49-F238E27FC236}">
                <a16:creationId xmlns:a16="http://schemas.microsoft.com/office/drawing/2014/main" id="{9C9B4B81-F2A1-6DE3-7024-F4DB6691494B}"/>
              </a:ext>
            </a:extLst>
          </p:cNvPr>
          <p:cNvSpPr/>
          <p:nvPr/>
        </p:nvSpPr>
        <p:spPr>
          <a:xfrm>
            <a:off x="904876" y="4547052"/>
            <a:ext cx="4359186" cy="13335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000" dirty="0">
                <a:solidFill>
                  <a:srgbClr val="001E60"/>
                </a:solidFill>
              </a:rPr>
              <a:t>L’80% dei lavoratori americani vedrà il </a:t>
            </a:r>
            <a:r>
              <a:rPr lang="it-IT" sz="2400" b="1" dirty="0">
                <a:solidFill>
                  <a:srgbClr val="F47B20"/>
                </a:solidFill>
              </a:rPr>
              <a:t>10%</a:t>
            </a:r>
            <a:r>
              <a:rPr lang="it-IT" sz="2000" dirty="0">
                <a:solidFill>
                  <a:srgbClr val="001E60"/>
                </a:solidFill>
              </a:rPr>
              <a:t> </a:t>
            </a:r>
            <a:r>
              <a:rPr lang="it-IT" sz="2000" b="1" dirty="0">
                <a:solidFill>
                  <a:srgbClr val="001E60"/>
                </a:solidFill>
              </a:rPr>
              <a:t>dei propri compiti modificato dall’Intelligenza Artificiale</a:t>
            </a:r>
          </a:p>
        </p:txBody>
      </p:sp>
      <p:sp>
        <p:nvSpPr>
          <p:cNvPr id="25" name="Freccia in giù 24">
            <a:extLst>
              <a:ext uri="{FF2B5EF4-FFF2-40B4-BE49-F238E27FC236}">
                <a16:creationId xmlns:a16="http://schemas.microsoft.com/office/drawing/2014/main" id="{84AFD5D3-8455-CF0C-EB8F-2D4AF9C11E4C}"/>
              </a:ext>
            </a:extLst>
          </p:cNvPr>
          <p:cNvSpPr/>
          <p:nvPr/>
        </p:nvSpPr>
        <p:spPr>
          <a:xfrm rot="18972410" flipH="1">
            <a:off x="8009991" y="3915137"/>
            <a:ext cx="345628" cy="564025"/>
          </a:xfrm>
          <a:prstGeom prst="downArrow">
            <a:avLst/>
          </a:prstGeom>
          <a:solidFill>
            <a:srgbClr val="001E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801"/>
          </a:p>
        </p:txBody>
      </p:sp>
      <p:sp>
        <p:nvSpPr>
          <p:cNvPr id="26" name="Rettangolo 25">
            <a:extLst>
              <a:ext uri="{FF2B5EF4-FFF2-40B4-BE49-F238E27FC236}">
                <a16:creationId xmlns:a16="http://schemas.microsoft.com/office/drawing/2014/main" id="{05899F51-C14A-F98C-84B0-E88D696E0C45}"/>
              </a:ext>
            </a:extLst>
          </p:cNvPr>
          <p:cNvSpPr/>
          <p:nvPr/>
        </p:nvSpPr>
        <p:spPr>
          <a:xfrm>
            <a:off x="7207340" y="4547052"/>
            <a:ext cx="4359186" cy="13335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000" dirty="0">
                <a:solidFill>
                  <a:srgbClr val="001E60"/>
                </a:solidFill>
              </a:rPr>
              <a:t>Il 20% dei lavoratori americani vedrà il </a:t>
            </a:r>
            <a:r>
              <a:rPr lang="it-IT" sz="2400" b="1" dirty="0">
                <a:solidFill>
                  <a:srgbClr val="F47B20"/>
                </a:solidFill>
              </a:rPr>
              <a:t>50%</a:t>
            </a:r>
            <a:r>
              <a:rPr lang="it-IT" sz="2000" dirty="0">
                <a:solidFill>
                  <a:srgbClr val="001E60"/>
                </a:solidFill>
              </a:rPr>
              <a:t> </a:t>
            </a:r>
            <a:r>
              <a:rPr lang="it-IT" sz="2000" b="1" dirty="0">
                <a:solidFill>
                  <a:srgbClr val="001E60"/>
                </a:solidFill>
              </a:rPr>
              <a:t>dei propri compiti modificato dall’Intelligenza Artificiale</a:t>
            </a:r>
          </a:p>
        </p:txBody>
      </p:sp>
      <p:sp>
        <p:nvSpPr>
          <p:cNvPr id="28" name="Rettangolo 27">
            <a:extLst>
              <a:ext uri="{FF2B5EF4-FFF2-40B4-BE49-F238E27FC236}">
                <a16:creationId xmlns:a16="http://schemas.microsoft.com/office/drawing/2014/main" id="{2D2B9682-AF50-5637-71F9-590D4251AA31}"/>
              </a:ext>
            </a:extLst>
          </p:cNvPr>
          <p:cNvSpPr/>
          <p:nvPr/>
        </p:nvSpPr>
        <p:spPr>
          <a:xfrm>
            <a:off x="-1" y="1140799"/>
            <a:ext cx="12192000" cy="945557"/>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000" dirty="0">
                <a:solidFill>
                  <a:srgbClr val="001E60"/>
                </a:solidFill>
              </a:rPr>
              <a:t>Si stima che </a:t>
            </a:r>
            <a:r>
              <a:rPr lang="it-IT" sz="2000" b="1" dirty="0">
                <a:solidFill>
                  <a:srgbClr val="001E60"/>
                </a:solidFill>
              </a:rPr>
              <a:t>entro il 2030 </a:t>
            </a:r>
            <a:r>
              <a:rPr lang="it-IT" sz="2000" dirty="0">
                <a:solidFill>
                  <a:srgbClr val="001E60"/>
                </a:solidFill>
              </a:rPr>
              <a:t>il </a:t>
            </a:r>
            <a:r>
              <a:rPr lang="it-IT" sz="2000" b="1" dirty="0">
                <a:solidFill>
                  <a:srgbClr val="001E60"/>
                </a:solidFill>
              </a:rPr>
              <a:t>65% delle competenze </a:t>
            </a:r>
            <a:r>
              <a:rPr lang="it-IT" sz="2000" dirty="0">
                <a:solidFill>
                  <a:srgbClr val="001E60"/>
                </a:solidFill>
              </a:rPr>
              <a:t>subirà un cambiamento </a:t>
            </a:r>
            <a:br>
              <a:rPr lang="it-IT" sz="2000" dirty="0">
                <a:solidFill>
                  <a:srgbClr val="001E60"/>
                </a:solidFill>
              </a:rPr>
            </a:br>
            <a:r>
              <a:rPr lang="it-IT" sz="2000" dirty="0">
                <a:solidFill>
                  <a:srgbClr val="001E60"/>
                </a:solidFill>
              </a:rPr>
              <a:t>a causa dell’</a:t>
            </a:r>
            <a:r>
              <a:rPr lang="it-IT" sz="2000" b="1" dirty="0">
                <a:solidFill>
                  <a:srgbClr val="001E60"/>
                </a:solidFill>
              </a:rPr>
              <a:t>adozione di massa dell’IA</a:t>
            </a:r>
          </a:p>
        </p:txBody>
      </p:sp>
    </p:spTree>
    <p:extLst>
      <p:ext uri="{BB962C8B-B14F-4D97-AF65-F5344CB8AC3E}">
        <p14:creationId xmlns:p14="http://schemas.microsoft.com/office/powerpoint/2010/main" val="430455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3FAE5-F27D-D3EA-B919-CAEC0D700D5F}"/>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E40F2894-BDF9-7D94-9545-CD286E6E7E9A}"/>
              </a:ext>
            </a:extLst>
          </p:cNvPr>
          <p:cNvSpPr>
            <a:spLocks noGrp="1"/>
          </p:cNvSpPr>
          <p:nvPr>
            <p:ph type="title"/>
          </p:nvPr>
        </p:nvSpPr>
        <p:spPr>
          <a:xfrm>
            <a:off x="403312" y="206101"/>
            <a:ext cx="11788687" cy="553198"/>
          </a:xfrm>
        </p:spPr>
        <p:txBody>
          <a:bodyPr/>
          <a:lstStyle/>
          <a:p>
            <a:r>
              <a:rPr lang="it-IT" sz="2800" dirty="0"/>
              <a:t>Già oggi l’evoluzione dello scenario tecnologico ha creato nuove professioni o cambiato i mestieri attuali trasversalmente all’intera economia</a:t>
            </a:r>
            <a:endParaRPr lang="it-IT" sz="2800" b="1" dirty="0"/>
          </a:p>
        </p:txBody>
      </p:sp>
      <p:sp>
        <p:nvSpPr>
          <p:cNvPr id="3" name="Segnaposto testo 2">
            <a:extLst>
              <a:ext uri="{FF2B5EF4-FFF2-40B4-BE49-F238E27FC236}">
                <a16:creationId xmlns:a16="http://schemas.microsoft.com/office/drawing/2014/main" id="{6540F8A2-7A59-D790-AE81-9B832998983D}"/>
              </a:ext>
            </a:extLst>
          </p:cNvPr>
          <p:cNvSpPr txBox="1">
            <a:spLocks/>
          </p:cNvSpPr>
          <p:nvPr/>
        </p:nvSpPr>
        <p:spPr>
          <a:xfrm>
            <a:off x="1568410" y="6532233"/>
            <a:ext cx="8783828" cy="27781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11">
              <a:spcBef>
                <a:spcPts val="1001"/>
              </a:spcBef>
              <a:defRPr/>
            </a:pPr>
            <a:r>
              <a:rPr lang="it-IT" dirty="0">
                <a:solidFill>
                  <a:prstClr val="white">
                    <a:lumMod val="50000"/>
                  </a:prstClr>
                </a:solidFill>
              </a:rPr>
              <a:t>Fonte: elaborazione TEHA Group su fonti varie, 2025</a:t>
            </a:r>
          </a:p>
        </p:txBody>
      </p:sp>
      <p:sp>
        <p:nvSpPr>
          <p:cNvPr id="4" name="Rettangolo 3">
            <a:extLst>
              <a:ext uri="{FF2B5EF4-FFF2-40B4-BE49-F238E27FC236}">
                <a16:creationId xmlns:a16="http://schemas.microsoft.com/office/drawing/2014/main" id="{0911D152-7518-9730-862D-EE03FF0DC614}"/>
              </a:ext>
            </a:extLst>
          </p:cNvPr>
          <p:cNvSpPr/>
          <p:nvPr/>
        </p:nvSpPr>
        <p:spPr>
          <a:xfrm>
            <a:off x="403314" y="1054102"/>
            <a:ext cx="2057401" cy="469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801" b="1" cap="small">
                <a:solidFill>
                  <a:srgbClr val="001E60"/>
                </a:solidFill>
              </a:rPr>
              <a:t>Commercio e Turismo</a:t>
            </a:r>
          </a:p>
        </p:txBody>
      </p:sp>
      <p:sp>
        <p:nvSpPr>
          <p:cNvPr id="5" name="Rettangolo 4">
            <a:extLst>
              <a:ext uri="{FF2B5EF4-FFF2-40B4-BE49-F238E27FC236}">
                <a16:creationId xmlns:a16="http://schemas.microsoft.com/office/drawing/2014/main" id="{EBE7AABD-C8BD-E55D-7E0D-DF26E9336937}"/>
              </a:ext>
            </a:extLst>
          </p:cNvPr>
          <p:cNvSpPr/>
          <p:nvPr/>
        </p:nvSpPr>
        <p:spPr>
          <a:xfrm>
            <a:off x="2752295" y="1054102"/>
            <a:ext cx="2057401" cy="469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801" b="1" cap="small">
                <a:solidFill>
                  <a:srgbClr val="001E60"/>
                </a:solidFill>
              </a:rPr>
              <a:t>Finanza e Consulenza</a:t>
            </a:r>
          </a:p>
        </p:txBody>
      </p:sp>
      <p:sp>
        <p:nvSpPr>
          <p:cNvPr id="7" name="Rettangolo 6">
            <a:extLst>
              <a:ext uri="{FF2B5EF4-FFF2-40B4-BE49-F238E27FC236}">
                <a16:creationId xmlns:a16="http://schemas.microsoft.com/office/drawing/2014/main" id="{636DD590-19EA-70AD-84C9-2423095A366A}"/>
              </a:ext>
            </a:extLst>
          </p:cNvPr>
          <p:cNvSpPr/>
          <p:nvPr/>
        </p:nvSpPr>
        <p:spPr>
          <a:xfrm>
            <a:off x="9799239" y="1054102"/>
            <a:ext cx="2057401" cy="469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801" b="1" cap="small">
                <a:solidFill>
                  <a:srgbClr val="001E60"/>
                </a:solidFill>
              </a:rPr>
              <a:t>Ambiente ed energia</a:t>
            </a:r>
          </a:p>
        </p:txBody>
      </p:sp>
      <p:sp>
        <p:nvSpPr>
          <p:cNvPr id="27" name="Rettangolo 26">
            <a:extLst>
              <a:ext uri="{FF2B5EF4-FFF2-40B4-BE49-F238E27FC236}">
                <a16:creationId xmlns:a16="http://schemas.microsoft.com/office/drawing/2014/main" id="{36B97BBE-28B0-FE91-8D10-EC0836295DA8}"/>
              </a:ext>
            </a:extLst>
          </p:cNvPr>
          <p:cNvSpPr/>
          <p:nvPr/>
        </p:nvSpPr>
        <p:spPr>
          <a:xfrm>
            <a:off x="5101278" y="1054102"/>
            <a:ext cx="2057401" cy="469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801" b="1" cap="small">
                <a:solidFill>
                  <a:srgbClr val="001E60"/>
                </a:solidFill>
              </a:rPr>
              <a:t>Informatica e Telecomunicazioni</a:t>
            </a:r>
          </a:p>
        </p:txBody>
      </p:sp>
      <p:sp>
        <p:nvSpPr>
          <p:cNvPr id="6" name="Rettangolo 5">
            <a:extLst>
              <a:ext uri="{FF2B5EF4-FFF2-40B4-BE49-F238E27FC236}">
                <a16:creationId xmlns:a16="http://schemas.microsoft.com/office/drawing/2014/main" id="{ACEAA232-64F1-3859-388B-3209B4A1FF22}"/>
              </a:ext>
            </a:extLst>
          </p:cNvPr>
          <p:cNvSpPr/>
          <p:nvPr/>
        </p:nvSpPr>
        <p:spPr>
          <a:xfrm>
            <a:off x="7450260" y="1054102"/>
            <a:ext cx="2057401" cy="469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801" b="1" cap="small">
                <a:solidFill>
                  <a:srgbClr val="001E60"/>
                </a:solidFill>
              </a:rPr>
              <a:t>Meccatronica e Robotica</a:t>
            </a:r>
          </a:p>
        </p:txBody>
      </p:sp>
      <p:sp>
        <p:nvSpPr>
          <p:cNvPr id="29" name="Rettangolo 28">
            <a:extLst>
              <a:ext uri="{FF2B5EF4-FFF2-40B4-BE49-F238E27FC236}">
                <a16:creationId xmlns:a16="http://schemas.microsoft.com/office/drawing/2014/main" id="{EBDE3229-1BFB-1D5B-9A24-EE7D9E99F5B9}"/>
              </a:ext>
            </a:extLst>
          </p:cNvPr>
          <p:cNvSpPr/>
          <p:nvPr/>
        </p:nvSpPr>
        <p:spPr>
          <a:xfrm>
            <a:off x="403314" y="3746502"/>
            <a:ext cx="2057401" cy="469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801" b="1" cap="small" err="1">
                <a:solidFill>
                  <a:srgbClr val="001E60"/>
                </a:solidFill>
              </a:rPr>
              <a:t>Industria</a:t>
            </a:r>
            <a:r>
              <a:rPr lang="en-GB" sz="1801" b="1" cap="small">
                <a:solidFill>
                  <a:srgbClr val="001E60"/>
                </a:solidFill>
              </a:rPr>
              <a:t> </a:t>
            </a:r>
            <a:r>
              <a:rPr lang="en-GB" sz="1801" b="1" cap="small" err="1">
                <a:solidFill>
                  <a:srgbClr val="001E60"/>
                </a:solidFill>
              </a:rPr>
              <a:t>alimentare</a:t>
            </a:r>
            <a:endParaRPr lang="en-GB" sz="1801" b="1" cap="small">
              <a:solidFill>
                <a:srgbClr val="001E60"/>
              </a:solidFill>
            </a:endParaRPr>
          </a:p>
        </p:txBody>
      </p:sp>
      <p:sp>
        <p:nvSpPr>
          <p:cNvPr id="30" name="Rettangolo 29">
            <a:extLst>
              <a:ext uri="{FF2B5EF4-FFF2-40B4-BE49-F238E27FC236}">
                <a16:creationId xmlns:a16="http://schemas.microsoft.com/office/drawing/2014/main" id="{AE9400CE-2E6E-C2AA-3242-C1C920160DFF}"/>
              </a:ext>
            </a:extLst>
          </p:cNvPr>
          <p:cNvSpPr/>
          <p:nvPr/>
        </p:nvSpPr>
        <p:spPr>
          <a:xfrm>
            <a:off x="2752295" y="3746502"/>
            <a:ext cx="2057401" cy="469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801" b="1" cap="small">
                <a:solidFill>
                  <a:srgbClr val="001E60"/>
                </a:solidFill>
              </a:rPr>
              <a:t>Sistema Moda, Legno e </a:t>
            </a:r>
            <a:r>
              <a:rPr lang="en-GB" sz="1801" b="1" cap="small" err="1">
                <a:solidFill>
                  <a:srgbClr val="001E60"/>
                </a:solidFill>
              </a:rPr>
              <a:t>Arredo</a:t>
            </a:r>
            <a:endParaRPr lang="en-GB" sz="1801" b="1" cap="small">
              <a:solidFill>
                <a:srgbClr val="001E60"/>
              </a:solidFill>
            </a:endParaRPr>
          </a:p>
        </p:txBody>
      </p:sp>
      <p:sp>
        <p:nvSpPr>
          <p:cNvPr id="31" name="Rettangolo 30">
            <a:extLst>
              <a:ext uri="{FF2B5EF4-FFF2-40B4-BE49-F238E27FC236}">
                <a16:creationId xmlns:a16="http://schemas.microsoft.com/office/drawing/2014/main" id="{1A8DFA8B-3578-F227-86D7-46795554AD62}"/>
              </a:ext>
            </a:extLst>
          </p:cNvPr>
          <p:cNvSpPr/>
          <p:nvPr/>
        </p:nvSpPr>
        <p:spPr>
          <a:xfrm>
            <a:off x="9799239" y="3746502"/>
            <a:ext cx="2057401" cy="469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801" b="1" cap="small" err="1">
                <a:solidFill>
                  <a:srgbClr val="001E60"/>
                </a:solidFill>
              </a:rPr>
              <a:t>Formazione</a:t>
            </a:r>
            <a:r>
              <a:rPr lang="en-GB" sz="1801" b="1" cap="small">
                <a:solidFill>
                  <a:srgbClr val="001E60"/>
                </a:solidFill>
              </a:rPr>
              <a:t> e Cultura</a:t>
            </a:r>
          </a:p>
        </p:txBody>
      </p:sp>
      <p:sp>
        <p:nvSpPr>
          <p:cNvPr id="32" name="Rettangolo 31">
            <a:extLst>
              <a:ext uri="{FF2B5EF4-FFF2-40B4-BE49-F238E27FC236}">
                <a16:creationId xmlns:a16="http://schemas.microsoft.com/office/drawing/2014/main" id="{05F09312-E157-E6A8-E206-6A0F2C297311}"/>
              </a:ext>
            </a:extLst>
          </p:cNvPr>
          <p:cNvSpPr/>
          <p:nvPr/>
        </p:nvSpPr>
        <p:spPr>
          <a:xfrm>
            <a:off x="5101278" y="3746502"/>
            <a:ext cx="2057401" cy="469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801" b="1" cap="small">
                <a:solidFill>
                  <a:srgbClr val="001E60"/>
                </a:solidFill>
              </a:rPr>
              <a:t>Mobilità e Logistica</a:t>
            </a:r>
          </a:p>
        </p:txBody>
      </p:sp>
      <p:sp>
        <p:nvSpPr>
          <p:cNvPr id="33" name="Rettangolo 32">
            <a:extLst>
              <a:ext uri="{FF2B5EF4-FFF2-40B4-BE49-F238E27FC236}">
                <a16:creationId xmlns:a16="http://schemas.microsoft.com/office/drawing/2014/main" id="{E8F93BCD-77F0-8398-7086-6B72255BBE66}"/>
              </a:ext>
            </a:extLst>
          </p:cNvPr>
          <p:cNvSpPr/>
          <p:nvPr/>
        </p:nvSpPr>
        <p:spPr>
          <a:xfrm>
            <a:off x="7450260" y="3746502"/>
            <a:ext cx="2057401" cy="469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801" b="1" cap="small" err="1">
                <a:solidFill>
                  <a:srgbClr val="001E60"/>
                </a:solidFill>
              </a:rPr>
              <a:t>Costruzioni</a:t>
            </a:r>
            <a:r>
              <a:rPr lang="en-GB" sz="1801" b="1" cap="small">
                <a:solidFill>
                  <a:srgbClr val="001E60"/>
                </a:solidFill>
              </a:rPr>
              <a:t> e </a:t>
            </a:r>
            <a:r>
              <a:rPr lang="en-GB" sz="1801" b="1" cap="small" err="1">
                <a:solidFill>
                  <a:srgbClr val="001E60"/>
                </a:solidFill>
              </a:rPr>
              <a:t>Infrastrutture</a:t>
            </a:r>
            <a:endParaRPr lang="en-GB" sz="1801" b="1" cap="small">
              <a:solidFill>
                <a:srgbClr val="001E60"/>
              </a:solidFill>
            </a:endParaRPr>
          </a:p>
        </p:txBody>
      </p:sp>
      <p:sp>
        <p:nvSpPr>
          <p:cNvPr id="34" name="Rettangolo 33">
            <a:extLst>
              <a:ext uri="{FF2B5EF4-FFF2-40B4-BE49-F238E27FC236}">
                <a16:creationId xmlns:a16="http://schemas.microsoft.com/office/drawing/2014/main" id="{AE1159C6-E9B2-43BF-491A-EA60BE574D09}"/>
              </a:ext>
            </a:extLst>
          </p:cNvPr>
          <p:cNvSpPr/>
          <p:nvPr/>
        </p:nvSpPr>
        <p:spPr>
          <a:xfrm>
            <a:off x="297260" y="1585604"/>
            <a:ext cx="2232000" cy="2023269"/>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80002" indent="-180002">
              <a:spcBef>
                <a:spcPts val="201"/>
              </a:spcBef>
              <a:spcAft>
                <a:spcPts val="201"/>
              </a:spcAft>
              <a:buClr>
                <a:srgbClr val="F47B20"/>
              </a:buClr>
              <a:buFont typeface="Arial" panose="020B0604020202020204" pitchFamily="34" charset="0"/>
              <a:buChar char="•"/>
            </a:pPr>
            <a:r>
              <a:rPr lang="en-GB" sz="1401" i="1" dirty="0">
                <a:solidFill>
                  <a:srgbClr val="001E60"/>
                </a:solidFill>
              </a:rPr>
              <a:t>Social Media strategist</a:t>
            </a:r>
          </a:p>
          <a:p>
            <a:pPr marL="180002" indent="-180002">
              <a:spcBef>
                <a:spcPts val="201"/>
              </a:spcBef>
              <a:spcAft>
                <a:spcPts val="201"/>
              </a:spcAft>
              <a:buClr>
                <a:srgbClr val="F47B20"/>
              </a:buClr>
              <a:buFont typeface="Arial" panose="020B0604020202020204" pitchFamily="34" charset="0"/>
              <a:buChar char="•"/>
            </a:pPr>
            <a:r>
              <a:rPr lang="en-GB" sz="1401" dirty="0" err="1">
                <a:solidFill>
                  <a:srgbClr val="001E60"/>
                </a:solidFill>
              </a:rPr>
              <a:t>Rappresentante</a:t>
            </a:r>
            <a:r>
              <a:rPr lang="en-GB" sz="1401" dirty="0">
                <a:solidFill>
                  <a:srgbClr val="001E60"/>
                </a:solidFill>
              </a:rPr>
              <a:t> del </a:t>
            </a:r>
            <a:r>
              <a:rPr lang="en-GB" sz="1401" dirty="0" err="1">
                <a:solidFill>
                  <a:srgbClr val="001E60"/>
                </a:solidFill>
              </a:rPr>
              <a:t>servizio</a:t>
            </a:r>
            <a:r>
              <a:rPr lang="en-GB" sz="1401" dirty="0">
                <a:solidFill>
                  <a:srgbClr val="001E60"/>
                </a:solidFill>
              </a:rPr>
              <a:t> clienti</a:t>
            </a:r>
          </a:p>
          <a:p>
            <a:pPr marL="180002" indent="-180002">
              <a:spcBef>
                <a:spcPts val="201"/>
              </a:spcBef>
              <a:spcAft>
                <a:spcPts val="201"/>
              </a:spcAft>
              <a:buClr>
                <a:srgbClr val="F47B20"/>
              </a:buClr>
              <a:buFont typeface="Arial" panose="020B0604020202020204" pitchFamily="34" charset="0"/>
              <a:buChar char="•"/>
            </a:pPr>
            <a:r>
              <a:rPr lang="en-GB" sz="1401" dirty="0" err="1">
                <a:solidFill>
                  <a:srgbClr val="001E60"/>
                </a:solidFill>
              </a:rPr>
              <a:t>Esperto</a:t>
            </a:r>
            <a:r>
              <a:rPr lang="en-GB" sz="1401" dirty="0">
                <a:solidFill>
                  <a:srgbClr val="001E60"/>
                </a:solidFill>
              </a:rPr>
              <a:t> di </a:t>
            </a:r>
            <a:r>
              <a:rPr lang="en-GB" sz="1401" i="1" dirty="0">
                <a:solidFill>
                  <a:srgbClr val="001E60"/>
                </a:solidFill>
              </a:rPr>
              <a:t>Social Data Analytics</a:t>
            </a:r>
          </a:p>
          <a:p>
            <a:pPr marL="180002" indent="-180002">
              <a:spcBef>
                <a:spcPts val="201"/>
              </a:spcBef>
              <a:spcAft>
                <a:spcPts val="201"/>
              </a:spcAft>
              <a:buClr>
                <a:srgbClr val="F47B20"/>
              </a:buClr>
              <a:buFont typeface="Arial" panose="020B0604020202020204" pitchFamily="34" charset="0"/>
              <a:buChar char="•"/>
            </a:pPr>
            <a:r>
              <a:rPr lang="it-IT" sz="1401" i="1" dirty="0">
                <a:solidFill>
                  <a:srgbClr val="001E60"/>
                </a:solidFill>
              </a:rPr>
              <a:t>Designer </a:t>
            </a:r>
            <a:r>
              <a:rPr lang="it-IT" sz="1401" dirty="0">
                <a:solidFill>
                  <a:srgbClr val="001E60"/>
                </a:solidFill>
              </a:rPr>
              <a:t>di negozi </a:t>
            </a:r>
            <a:r>
              <a:rPr lang="it-IT" sz="1401" i="1" dirty="0">
                <a:solidFill>
                  <a:srgbClr val="001E60"/>
                </a:solidFill>
              </a:rPr>
              <a:t>phygital</a:t>
            </a:r>
            <a:endParaRPr lang="en-GB" sz="1401" i="1" dirty="0">
              <a:solidFill>
                <a:srgbClr val="001E60"/>
              </a:solidFill>
            </a:endParaRPr>
          </a:p>
        </p:txBody>
      </p:sp>
      <p:sp>
        <p:nvSpPr>
          <p:cNvPr id="35" name="Rettangolo 34">
            <a:extLst>
              <a:ext uri="{FF2B5EF4-FFF2-40B4-BE49-F238E27FC236}">
                <a16:creationId xmlns:a16="http://schemas.microsoft.com/office/drawing/2014/main" id="{A6568FEB-D526-F8E2-E3E0-B3CB70640F0A}"/>
              </a:ext>
            </a:extLst>
          </p:cNvPr>
          <p:cNvSpPr/>
          <p:nvPr/>
        </p:nvSpPr>
        <p:spPr>
          <a:xfrm>
            <a:off x="2646242" y="1585604"/>
            <a:ext cx="2232000" cy="2023269"/>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Security officer</a:t>
            </a:r>
          </a:p>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Automation engineer</a:t>
            </a:r>
          </a:p>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Mobile developer</a:t>
            </a:r>
          </a:p>
          <a:p>
            <a:pPr marL="180002" indent="-180002">
              <a:spcBef>
                <a:spcPts val="201"/>
              </a:spcBef>
              <a:spcAft>
                <a:spcPts val="201"/>
              </a:spcAft>
              <a:buClr>
                <a:srgbClr val="F47B20"/>
              </a:buClr>
              <a:buFont typeface="Arial" panose="020B0604020202020204" pitchFamily="34" charset="0"/>
              <a:buChar char="•"/>
            </a:pPr>
            <a:r>
              <a:rPr lang="en-GB" sz="1401" err="1">
                <a:solidFill>
                  <a:srgbClr val="001E60"/>
                </a:solidFill>
              </a:rPr>
              <a:t>Esperto</a:t>
            </a:r>
            <a:r>
              <a:rPr lang="en-GB" sz="1401">
                <a:solidFill>
                  <a:srgbClr val="001E60"/>
                </a:solidFill>
              </a:rPr>
              <a:t> di </a:t>
            </a:r>
            <a:r>
              <a:rPr lang="en-GB" sz="1401" i="1">
                <a:solidFill>
                  <a:srgbClr val="001E60"/>
                </a:solidFill>
              </a:rPr>
              <a:t>cyber-security </a:t>
            </a:r>
            <a:r>
              <a:rPr lang="en-GB" sz="1401">
                <a:solidFill>
                  <a:srgbClr val="001E60"/>
                </a:solidFill>
              </a:rPr>
              <a:t>e </a:t>
            </a:r>
            <a:r>
              <a:rPr lang="en-GB" sz="1401" i="1">
                <a:solidFill>
                  <a:srgbClr val="001E60"/>
                </a:solidFill>
              </a:rPr>
              <a:t>machine learning</a:t>
            </a:r>
          </a:p>
        </p:txBody>
      </p:sp>
      <p:sp>
        <p:nvSpPr>
          <p:cNvPr id="36" name="Rettangolo 35">
            <a:extLst>
              <a:ext uri="{FF2B5EF4-FFF2-40B4-BE49-F238E27FC236}">
                <a16:creationId xmlns:a16="http://schemas.microsoft.com/office/drawing/2014/main" id="{B35088D6-BAE5-E6B2-FD17-6F4DD9C3DEFD}"/>
              </a:ext>
            </a:extLst>
          </p:cNvPr>
          <p:cNvSpPr/>
          <p:nvPr/>
        </p:nvSpPr>
        <p:spPr>
          <a:xfrm>
            <a:off x="4995225" y="1585602"/>
            <a:ext cx="2232000" cy="2023269"/>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Data engineer</a:t>
            </a:r>
          </a:p>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Data Mining analyst</a:t>
            </a:r>
          </a:p>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Information security engineer</a:t>
            </a:r>
          </a:p>
          <a:p>
            <a:pPr marL="180002" indent="-180002">
              <a:spcBef>
                <a:spcPts val="201"/>
              </a:spcBef>
              <a:spcAft>
                <a:spcPts val="201"/>
              </a:spcAft>
              <a:buClr>
                <a:srgbClr val="F47B20"/>
              </a:buClr>
              <a:buFont typeface="Arial" panose="020B0604020202020204" pitchFamily="34" charset="0"/>
              <a:buChar char="•"/>
            </a:pPr>
            <a:r>
              <a:rPr lang="en-GB" sz="1401" err="1">
                <a:solidFill>
                  <a:srgbClr val="001E60"/>
                </a:solidFill>
              </a:rPr>
              <a:t>Sviluppatore</a:t>
            </a:r>
            <a:r>
              <a:rPr lang="en-GB" sz="1401">
                <a:solidFill>
                  <a:srgbClr val="001E60"/>
                </a:solidFill>
              </a:rPr>
              <a:t> di </a:t>
            </a:r>
            <a:r>
              <a:rPr lang="en-GB" sz="1401" i="1">
                <a:solidFill>
                  <a:srgbClr val="001E60"/>
                </a:solidFill>
              </a:rPr>
              <a:t>app</a:t>
            </a:r>
            <a:r>
              <a:rPr lang="en-GB" sz="1401">
                <a:solidFill>
                  <a:srgbClr val="001E60"/>
                </a:solidFill>
              </a:rPr>
              <a:t> per </a:t>
            </a:r>
            <a:r>
              <a:rPr lang="en-GB" sz="1401" err="1">
                <a:solidFill>
                  <a:srgbClr val="001E60"/>
                </a:solidFill>
              </a:rPr>
              <a:t>telefonia</a:t>
            </a:r>
            <a:r>
              <a:rPr lang="en-GB" sz="1401">
                <a:solidFill>
                  <a:srgbClr val="001E60"/>
                </a:solidFill>
              </a:rPr>
              <a:t> </a:t>
            </a:r>
            <a:r>
              <a:rPr lang="en-GB" sz="1401" i="1">
                <a:solidFill>
                  <a:srgbClr val="001E60"/>
                </a:solidFill>
              </a:rPr>
              <a:t>mobile</a:t>
            </a:r>
          </a:p>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Web developer</a:t>
            </a:r>
          </a:p>
          <a:p>
            <a:pPr marL="180002" indent="-180002">
              <a:spcBef>
                <a:spcPts val="201"/>
              </a:spcBef>
              <a:spcAft>
                <a:spcPts val="201"/>
              </a:spcAft>
              <a:buClr>
                <a:srgbClr val="F47B20"/>
              </a:buClr>
              <a:buFont typeface="Arial" panose="020B0604020202020204" pitchFamily="34" charset="0"/>
              <a:buChar char="•"/>
            </a:pPr>
            <a:r>
              <a:rPr lang="it-IT" sz="1401" i="1">
                <a:solidFill>
                  <a:srgbClr val="001E60"/>
                </a:solidFill>
              </a:rPr>
              <a:t>Digital twin </a:t>
            </a:r>
            <a:r>
              <a:rPr lang="it-IT" sz="1401" i="1" err="1">
                <a:solidFill>
                  <a:srgbClr val="001E60"/>
                </a:solidFill>
              </a:rPr>
              <a:t>modelist</a:t>
            </a:r>
            <a:endParaRPr lang="en-GB" sz="1401" i="1">
              <a:solidFill>
                <a:srgbClr val="001E60"/>
              </a:solidFill>
            </a:endParaRPr>
          </a:p>
        </p:txBody>
      </p:sp>
      <p:sp>
        <p:nvSpPr>
          <p:cNvPr id="37" name="Rettangolo 36">
            <a:extLst>
              <a:ext uri="{FF2B5EF4-FFF2-40B4-BE49-F238E27FC236}">
                <a16:creationId xmlns:a16="http://schemas.microsoft.com/office/drawing/2014/main" id="{1D6C2D1E-5E6D-58F4-6E77-682355E765E6}"/>
              </a:ext>
            </a:extLst>
          </p:cNvPr>
          <p:cNvSpPr/>
          <p:nvPr/>
        </p:nvSpPr>
        <p:spPr>
          <a:xfrm>
            <a:off x="7344206" y="1585602"/>
            <a:ext cx="2232000" cy="2023269"/>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Esperto di automazione robotica</a:t>
            </a:r>
          </a:p>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Esperto di standardizzazione e ottimizzazione dei processi</a:t>
            </a:r>
          </a:p>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Addetto alla telegestione dell’impiantistica</a:t>
            </a:r>
          </a:p>
        </p:txBody>
      </p:sp>
      <p:sp>
        <p:nvSpPr>
          <p:cNvPr id="38" name="Rettangolo 37">
            <a:extLst>
              <a:ext uri="{FF2B5EF4-FFF2-40B4-BE49-F238E27FC236}">
                <a16:creationId xmlns:a16="http://schemas.microsoft.com/office/drawing/2014/main" id="{3BC9793C-786E-8242-75CC-09255D0A501E}"/>
              </a:ext>
            </a:extLst>
          </p:cNvPr>
          <p:cNvSpPr/>
          <p:nvPr/>
        </p:nvSpPr>
        <p:spPr>
          <a:xfrm>
            <a:off x="9693188" y="1585600"/>
            <a:ext cx="2232000" cy="2023269"/>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80002" indent="-180002">
              <a:spcBef>
                <a:spcPts val="201"/>
              </a:spcBef>
              <a:spcAft>
                <a:spcPts val="201"/>
              </a:spcAft>
              <a:buClr>
                <a:srgbClr val="F47B20"/>
              </a:buClr>
              <a:buFont typeface="Arial" panose="020B0604020202020204" pitchFamily="34" charset="0"/>
              <a:buChar char="•"/>
            </a:pPr>
            <a:r>
              <a:rPr lang="it-IT" sz="1401" i="1">
                <a:solidFill>
                  <a:srgbClr val="001E60"/>
                </a:solidFill>
              </a:rPr>
              <a:t>Eco-designer</a:t>
            </a:r>
          </a:p>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Esperto HSE (</a:t>
            </a:r>
            <a:r>
              <a:rPr lang="it-IT" sz="1401" i="1">
                <a:solidFill>
                  <a:srgbClr val="001E60"/>
                </a:solidFill>
              </a:rPr>
              <a:t>Health, </a:t>
            </a:r>
            <a:r>
              <a:rPr lang="it-IT" sz="1401" i="1" err="1">
                <a:solidFill>
                  <a:srgbClr val="001E60"/>
                </a:solidFill>
              </a:rPr>
              <a:t>Safety</a:t>
            </a:r>
            <a:r>
              <a:rPr lang="it-IT" sz="1401" i="1">
                <a:solidFill>
                  <a:srgbClr val="001E60"/>
                </a:solidFill>
              </a:rPr>
              <a:t> &amp; Environment</a:t>
            </a:r>
            <a:r>
              <a:rPr lang="it-IT" sz="1401">
                <a:solidFill>
                  <a:srgbClr val="001E60"/>
                </a:solidFill>
              </a:rPr>
              <a:t>)</a:t>
            </a:r>
          </a:p>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Giurista ambientale</a:t>
            </a:r>
          </a:p>
          <a:p>
            <a:pPr marL="180002" indent="-180002">
              <a:spcBef>
                <a:spcPts val="201"/>
              </a:spcBef>
              <a:spcAft>
                <a:spcPts val="201"/>
              </a:spcAft>
              <a:buClr>
                <a:srgbClr val="F47B20"/>
              </a:buClr>
              <a:buFont typeface="Arial" panose="020B0604020202020204" pitchFamily="34" charset="0"/>
              <a:buChar char="•"/>
            </a:pPr>
            <a:r>
              <a:rPr lang="it-IT" sz="1401" i="1">
                <a:solidFill>
                  <a:srgbClr val="001E60"/>
                </a:solidFill>
              </a:rPr>
              <a:t>Risk Manager </a:t>
            </a:r>
            <a:r>
              <a:rPr lang="it-IT" sz="1401">
                <a:solidFill>
                  <a:srgbClr val="001E60"/>
                </a:solidFill>
              </a:rPr>
              <a:t>ambientale</a:t>
            </a:r>
          </a:p>
          <a:p>
            <a:pPr marL="180002" indent="-180002">
              <a:spcBef>
                <a:spcPts val="201"/>
              </a:spcBef>
              <a:spcAft>
                <a:spcPts val="201"/>
              </a:spcAft>
              <a:buClr>
                <a:srgbClr val="F47B20"/>
              </a:buClr>
              <a:buFont typeface="Arial" panose="020B0604020202020204" pitchFamily="34" charset="0"/>
              <a:buChar char="•"/>
            </a:pPr>
            <a:r>
              <a:rPr lang="it-IT" sz="1401" i="1">
                <a:solidFill>
                  <a:srgbClr val="001E60"/>
                </a:solidFill>
              </a:rPr>
              <a:t>Waste Manager</a:t>
            </a:r>
          </a:p>
        </p:txBody>
      </p:sp>
      <p:sp>
        <p:nvSpPr>
          <p:cNvPr id="39" name="Rettangolo 38">
            <a:extLst>
              <a:ext uri="{FF2B5EF4-FFF2-40B4-BE49-F238E27FC236}">
                <a16:creationId xmlns:a16="http://schemas.microsoft.com/office/drawing/2014/main" id="{FCDC91A4-167B-4FBF-240A-5F3E93827703}"/>
              </a:ext>
            </a:extLst>
          </p:cNvPr>
          <p:cNvSpPr/>
          <p:nvPr/>
        </p:nvSpPr>
        <p:spPr>
          <a:xfrm>
            <a:off x="297260" y="4286772"/>
            <a:ext cx="2232000" cy="2023269"/>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Esperto di ottimizzazione dei processi</a:t>
            </a:r>
          </a:p>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Esperto di tecniche di riciclo</a:t>
            </a:r>
          </a:p>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Esperto di </a:t>
            </a:r>
            <a:r>
              <a:rPr lang="en-GB" sz="1401" i="1">
                <a:solidFill>
                  <a:srgbClr val="001E60"/>
                </a:solidFill>
              </a:rPr>
              <a:t>packaging </a:t>
            </a:r>
            <a:r>
              <a:rPr lang="en-GB" sz="1401" err="1">
                <a:solidFill>
                  <a:srgbClr val="001E60"/>
                </a:solidFill>
              </a:rPr>
              <a:t>sostenibile</a:t>
            </a:r>
            <a:endParaRPr lang="en-GB" sz="1401">
              <a:solidFill>
                <a:srgbClr val="001E60"/>
              </a:solidFill>
            </a:endParaRPr>
          </a:p>
        </p:txBody>
      </p:sp>
      <p:sp>
        <p:nvSpPr>
          <p:cNvPr id="40" name="Rettangolo 39">
            <a:extLst>
              <a:ext uri="{FF2B5EF4-FFF2-40B4-BE49-F238E27FC236}">
                <a16:creationId xmlns:a16="http://schemas.microsoft.com/office/drawing/2014/main" id="{B2443EAD-1107-2364-6056-7F37B8682909}"/>
              </a:ext>
            </a:extLst>
          </p:cNvPr>
          <p:cNvSpPr/>
          <p:nvPr/>
        </p:nvSpPr>
        <p:spPr>
          <a:xfrm>
            <a:off x="2646242" y="4286772"/>
            <a:ext cx="2232000" cy="2023269"/>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E-commerce analyst</a:t>
            </a:r>
          </a:p>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Digital marketing analyst</a:t>
            </a:r>
          </a:p>
        </p:txBody>
      </p:sp>
      <p:sp>
        <p:nvSpPr>
          <p:cNvPr id="41" name="Rettangolo 40">
            <a:extLst>
              <a:ext uri="{FF2B5EF4-FFF2-40B4-BE49-F238E27FC236}">
                <a16:creationId xmlns:a16="http://schemas.microsoft.com/office/drawing/2014/main" id="{160B8F48-A811-4CFA-9628-0D06BE836957}"/>
              </a:ext>
            </a:extLst>
          </p:cNvPr>
          <p:cNvSpPr/>
          <p:nvPr/>
        </p:nvSpPr>
        <p:spPr>
          <a:xfrm>
            <a:off x="4995225" y="4286770"/>
            <a:ext cx="2232000" cy="2023269"/>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Supply chain/logistics manager</a:t>
            </a:r>
          </a:p>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Operations supervisor</a:t>
            </a:r>
          </a:p>
          <a:p>
            <a:pPr marL="180002" indent="-180002">
              <a:spcBef>
                <a:spcPts val="201"/>
              </a:spcBef>
              <a:spcAft>
                <a:spcPts val="201"/>
              </a:spcAft>
              <a:buClr>
                <a:srgbClr val="F47B20"/>
              </a:buClr>
              <a:buFont typeface="Arial" panose="020B0604020202020204" pitchFamily="34" charset="0"/>
              <a:buChar char="•"/>
            </a:pPr>
            <a:r>
              <a:rPr lang="en-GB" sz="1401" i="1">
                <a:solidFill>
                  <a:srgbClr val="001E60"/>
                </a:solidFill>
              </a:rPr>
              <a:t>Web/app developer</a:t>
            </a:r>
          </a:p>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Esperto di IA per la mobilità</a:t>
            </a:r>
          </a:p>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Esperto di GIS e telerilevamento</a:t>
            </a:r>
            <a:endParaRPr lang="en-GB" sz="1401">
              <a:solidFill>
                <a:srgbClr val="001E60"/>
              </a:solidFill>
            </a:endParaRPr>
          </a:p>
        </p:txBody>
      </p:sp>
      <p:sp>
        <p:nvSpPr>
          <p:cNvPr id="42" name="Rettangolo 41">
            <a:extLst>
              <a:ext uri="{FF2B5EF4-FFF2-40B4-BE49-F238E27FC236}">
                <a16:creationId xmlns:a16="http://schemas.microsoft.com/office/drawing/2014/main" id="{2E1A1860-110B-3825-CBF3-78D9ED639650}"/>
              </a:ext>
            </a:extLst>
          </p:cNvPr>
          <p:cNvSpPr/>
          <p:nvPr/>
        </p:nvSpPr>
        <p:spPr>
          <a:xfrm>
            <a:off x="7344206" y="4286770"/>
            <a:ext cx="2232000" cy="2023269"/>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Esperto di progettazione efficiente (energetica e urbana)</a:t>
            </a:r>
          </a:p>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Esperto di </a:t>
            </a:r>
            <a:r>
              <a:rPr lang="it-IT" sz="1401" i="1">
                <a:solidFill>
                  <a:srgbClr val="001E60"/>
                </a:solidFill>
              </a:rPr>
              <a:t>human </a:t>
            </a:r>
            <a:r>
              <a:rPr lang="it-IT" sz="1401" i="1" err="1">
                <a:solidFill>
                  <a:srgbClr val="001E60"/>
                </a:solidFill>
              </a:rPr>
              <a:t>centered</a:t>
            </a:r>
            <a:r>
              <a:rPr lang="it-IT" sz="1401" i="1">
                <a:solidFill>
                  <a:srgbClr val="001E60"/>
                </a:solidFill>
              </a:rPr>
              <a:t> design</a:t>
            </a:r>
          </a:p>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Sviluppatore di tecnologie per l’accessibilità</a:t>
            </a:r>
          </a:p>
        </p:txBody>
      </p:sp>
      <p:sp>
        <p:nvSpPr>
          <p:cNvPr id="43" name="Rettangolo 42">
            <a:extLst>
              <a:ext uri="{FF2B5EF4-FFF2-40B4-BE49-F238E27FC236}">
                <a16:creationId xmlns:a16="http://schemas.microsoft.com/office/drawing/2014/main" id="{429EC484-0FC2-1A6B-B85E-16466BF2C5F9}"/>
              </a:ext>
            </a:extLst>
          </p:cNvPr>
          <p:cNvSpPr/>
          <p:nvPr/>
        </p:nvSpPr>
        <p:spPr>
          <a:xfrm>
            <a:off x="9693188" y="4286768"/>
            <a:ext cx="2232000" cy="2023269"/>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80002" indent="-180002">
              <a:spcBef>
                <a:spcPts val="201"/>
              </a:spcBef>
              <a:spcAft>
                <a:spcPts val="201"/>
              </a:spcAft>
              <a:buClr>
                <a:srgbClr val="F47B20"/>
              </a:buClr>
              <a:buFont typeface="Arial" panose="020B0604020202020204" pitchFamily="34" charset="0"/>
              <a:buChar char="•"/>
            </a:pPr>
            <a:r>
              <a:rPr lang="en-GB" sz="1401" err="1">
                <a:solidFill>
                  <a:srgbClr val="001E60"/>
                </a:solidFill>
              </a:rPr>
              <a:t>Esperto</a:t>
            </a:r>
            <a:r>
              <a:rPr lang="en-GB" sz="1401">
                <a:solidFill>
                  <a:srgbClr val="001E60"/>
                </a:solidFill>
              </a:rPr>
              <a:t> di </a:t>
            </a:r>
            <a:r>
              <a:rPr lang="en-GB" sz="1401" i="1">
                <a:solidFill>
                  <a:srgbClr val="001E60"/>
                </a:solidFill>
              </a:rPr>
              <a:t>cloud computing</a:t>
            </a:r>
          </a:p>
          <a:p>
            <a:pPr marL="180002" indent="-180002">
              <a:spcBef>
                <a:spcPts val="201"/>
              </a:spcBef>
              <a:spcAft>
                <a:spcPts val="201"/>
              </a:spcAft>
              <a:buClr>
                <a:srgbClr val="F47B20"/>
              </a:buClr>
              <a:buFont typeface="Arial" panose="020B0604020202020204" pitchFamily="34" charset="0"/>
              <a:buChar char="•"/>
            </a:pPr>
            <a:r>
              <a:rPr lang="it-IT" sz="1401">
                <a:solidFill>
                  <a:srgbClr val="001E60"/>
                </a:solidFill>
              </a:rPr>
              <a:t>Educatore per la riqualificazione professionale </a:t>
            </a:r>
          </a:p>
          <a:p>
            <a:pPr marL="180002" indent="-180002">
              <a:spcBef>
                <a:spcPts val="201"/>
              </a:spcBef>
              <a:spcAft>
                <a:spcPts val="201"/>
              </a:spcAft>
              <a:buClr>
                <a:srgbClr val="F47B20"/>
              </a:buClr>
              <a:buFont typeface="Arial" panose="020B0604020202020204" pitchFamily="34" charset="0"/>
              <a:buChar char="•"/>
            </a:pPr>
            <a:r>
              <a:rPr lang="en-GB" sz="1401" err="1">
                <a:solidFill>
                  <a:srgbClr val="001E60"/>
                </a:solidFill>
              </a:rPr>
              <a:t>Docente</a:t>
            </a:r>
            <a:r>
              <a:rPr lang="en-GB" sz="1401">
                <a:solidFill>
                  <a:srgbClr val="001E60"/>
                </a:solidFill>
              </a:rPr>
              <a:t> </a:t>
            </a:r>
            <a:r>
              <a:rPr lang="it-IT" sz="1401">
                <a:solidFill>
                  <a:srgbClr val="001E60"/>
                </a:solidFill>
              </a:rPr>
              <a:t>di materie su digitale e </a:t>
            </a:r>
            <a:r>
              <a:rPr lang="it-IT" sz="1401" i="1">
                <a:solidFill>
                  <a:srgbClr val="001E60"/>
                </a:solidFill>
              </a:rPr>
              <a:t>green economy</a:t>
            </a:r>
          </a:p>
        </p:txBody>
      </p:sp>
    </p:spTree>
    <p:extLst>
      <p:ext uri="{BB962C8B-B14F-4D97-AF65-F5344CB8AC3E}">
        <p14:creationId xmlns:p14="http://schemas.microsoft.com/office/powerpoint/2010/main" val="2286385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139E1D-DD86-92C1-27BD-C0711E4D153A}"/>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F045CBEA-8DCE-0328-685F-3F1772F868C4}"/>
              </a:ext>
            </a:extLst>
          </p:cNvPr>
          <p:cNvSpPr>
            <a:spLocks noGrp="1"/>
          </p:cNvSpPr>
          <p:nvPr>
            <p:ph type="title"/>
          </p:nvPr>
        </p:nvSpPr>
        <p:spPr>
          <a:xfrm>
            <a:off x="403315" y="206101"/>
            <a:ext cx="10950487" cy="553198"/>
          </a:xfrm>
        </p:spPr>
        <p:txBody>
          <a:bodyPr/>
          <a:lstStyle/>
          <a:p>
            <a:r>
              <a:rPr lang="it-IT"/>
              <a:t>Alcune suggestioni sulla possibile evoluzione del sistema formativo entro il 2050</a:t>
            </a:r>
          </a:p>
        </p:txBody>
      </p:sp>
      <p:sp>
        <p:nvSpPr>
          <p:cNvPr id="6" name="CasellaDiTesto 5">
            <a:extLst>
              <a:ext uri="{FF2B5EF4-FFF2-40B4-BE49-F238E27FC236}">
                <a16:creationId xmlns:a16="http://schemas.microsoft.com/office/drawing/2014/main" id="{112A11BF-D974-0F64-8952-AAA0757FA128}"/>
              </a:ext>
            </a:extLst>
          </p:cNvPr>
          <p:cNvSpPr txBox="1"/>
          <p:nvPr/>
        </p:nvSpPr>
        <p:spPr>
          <a:xfrm>
            <a:off x="4873272" y="1402115"/>
            <a:ext cx="3320236" cy="646587"/>
          </a:xfrm>
          <a:prstGeom prst="rect">
            <a:avLst/>
          </a:prstGeom>
          <a:noFill/>
        </p:spPr>
        <p:txBody>
          <a:bodyPr wrap="square" rtlCol="0">
            <a:spAutoFit/>
          </a:bodyPr>
          <a:lstStyle/>
          <a:p>
            <a:pPr algn="ctr"/>
            <a:r>
              <a:rPr lang="it-IT" sz="1801" dirty="0">
                <a:solidFill>
                  <a:srgbClr val="001E60"/>
                </a:solidFill>
              </a:rPr>
              <a:t>Spazi fisici immersivi e pensati per il </a:t>
            </a:r>
            <a:r>
              <a:rPr lang="it-IT" sz="1801" i="1" dirty="0">
                <a:solidFill>
                  <a:srgbClr val="001E60"/>
                </a:solidFill>
              </a:rPr>
              <a:t>learning by </a:t>
            </a:r>
            <a:r>
              <a:rPr lang="it-IT" sz="1801" i="1" dirty="0" err="1">
                <a:solidFill>
                  <a:srgbClr val="001E60"/>
                </a:solidFill>
              </a:rPr>
              <a:t>doing</a:t>
            </a:r>
            <a:endParaRPr lang="it-IT" sz="1801" dirty="0">
              <a:solidFill>
                <a:srgbClr val="001E60"/>
              </a:solidFill>
            </a:endParaRPr>
          </a:p>
        </p:txBody>
      </p:sp>
      <p:sp>
        <p:nvSpPr>
          <p:cNvPr id="7" name="CasellaDiTesto 6">
            <a:extLst>
              <a:ext uri="{FF2B5EF4-FFF2-40B4-BE49-F238E27FC236}">
                <a16:creationId xmlns:a16="http://schemas.microsoft.com/office/drawing/2014/main" id="{E476E5AF-D33E-035E-5D29-9C595B7CF499}"/>
              </a:ext>
            </a:extLst>
          </p:cNvPr>
          <p:cNvSpPr txBox="1"/>
          <p:nvPr/>
        </p:nvSpPr>
        <p:spPr>
          <a:xfrm>
            <a:off x="9315222" y="1402116"/>
            <a:ext cx="2265364" cy="646587"/>
          </a:xfrm>
          <a:prstGeom prst="rect">
            <a:avLst/>
          </a:prstGeom>
          <a:noFill/>
        </p:spPr>
        <p:txBody>
          <a:bodyPr wrap="square" rtlCol="0">
            <a:spAutoFit/>
          </a:bodyPr>
          <a:lstStyle/>
          <a:p>
            <a:pPr algn="ctr"/>
            <a:r>
              <a:rPr lang="it-IT" sz="1801">
                <a:solidFill>
                  <a:srgbClr val="001E60"/>
                </a:solidFill>
              </a:rPr>
              <a:t>Insegnanti </a:t>
            </a:r>
            <a:br>
              <a:rPr lang="it-IT" sz="1801">
                <a:solidFill>
                  <a:srgbClr val="001E60"/>
                </a:solidFill>
              </a:rPr>
            </a:br>
            <a:r>
              <a:rPr lang="it-IT" sz="1801">
                <a:solidFill>
                  <a:srgbClr val="001E60"/>
                </a:solidFill>
              </a:rPr>
              <a:t>robotici</a:t>
            </a:r>
          </a:p>
        </p:txBody>
      </p:sp>
      <p:sp>
        <p:nvSpPr>
          <p:cNvPr id="8" name="CasellaDiTesto 7">
            <a:extLst>
              <a:ext uri="{FF2B5EF4-FFF2-40B4-BE49-F238E27FC236}">
                <a16:creationId xmlns:a16="http://schemas.microsoft.com/office/drawing/2014/main" id="{E5470DEE-BDE7-53B9-9691-BEA1C1602943}"/>
              </a:ext>
            </a:extLst>
          </p:cNvPr>
          <p:cNvSpPr txBox="1"/>
          <p:nvPr/>
        </p:nvSpPr>
        <p:spPr>
          <a:xfrm>
            <a:off x="806450" y="1402115"/>
            <a:ext cx="2929166" cy="646587"/>
          </a:xfrm>
          <a:prstGeom prst="rect">
            <a:avLst/>
          </a:prstGeom>
          <a:noFill/>
        </p:spPr>
        <p:txBody>
          <a:bodyPr wrap="square" rtlCol="0">
            <a:spAutoFit/>
          </a:bodyPr>
          <a:lstStyle/>
          <a:p>
            <a:pPr algn="ctr"/>
            <a:r>
              <a:rPr lang="it-IT" sz="1801" dirty="0">
                <a:solidFill>
                  <a:srgbClr val="001E60"/>
                </a:solidFill>
              </a:rPr>
              <a:t>Formazione interattiva a distanza (3D)</a:t>
            </a:r>
          </a:p>
        </p:txBody>
      </p:sp>
      <p:sp>
        <p:nvSpPr>
          <p:cNvPr id="15" name="CasellaDiTesto 201">
            <a:extLst>
              <a:ext uri="{FF2B5EF4-FFF2-40B4-BE49-F238E27FC236}">
                <a16:creationId xmlns:a16="http://schemas.microsoft.com/office/drawing/2014/main" id="{9465F277-8EAA-737C-B8E7-63020E22147C}"/>
              </a:ext>
            </a:extLst>
          </p:cNvPr>
          <p:cNvSpPr txBox="1">
            <a:spLocks noChangeArrowheads="1"/>
          </p:cNvSpPr>
          <p:nvPr/>
        </p:nvSpPr>
        <p:spPr bwMode="auto">
          <a:xfrm>
            <a:off x="1599700" y="6468654"/>
            <a:ext cx="7293230" cy="289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3888" tIns="51945" rIns="103888" bIns="51945">
            <a:spAutoFit/>
          </a:bodyPr>
          <a:lstStyle>
            <a:lvl1pPr>
              <a:defRPr sz="1600">
                <a:solidFill>
                  <a:srgbClr val="020060"/>
                </a:solidFill>
                <a:latin typeface="Tahoma" pitchFamily="34" charset="0"/>
                <a:ea typeface="MS PGothic" pitchFamily="34" charset="-128"/>
              </a:defRPr>
            </a:lvl1pPr>
            <a:lvl2pPr marL="742950" indent="-285750">
              <a:defRPr sz="1600">
                <a:solidFill>
                  <a:srgbClr val="020060"/>
                </a:solidFill>
                <a:latin typeface="Tahoma" pitchFamily="34" charset="0"/>
                <a:ea typeface="MS PGothic" pitchFamily="34" charset="-128"/>
              </a:defRPr>
            </a:lvl2pPr>
            <a:lvl3pPr marL="1143000" indent="-228600">
              <a:defRPr sz="1600">
                <a:solidFill>
                  <a:srgbClr val="020060"/>
                </a:solidFill>
                <a:latin typeface="Tahoma" pitchFamily="34" charset="0"/>
                <a:ea typeface="MS PGothic" pitchFamily="34" charset="-128"/>
              </a:defRPr>
            </a:lvl3pPr>
            <a:lvl4pPr marL="1600200" indent="-228600">
              <a:defRPr sz="1600">
                <a:solidFill>
                  <a:srgbClr val="020060"/>
                </a:solidFill>
                <a:latin typeface="Tahoma" pitchFamily="34" charset="0"/>
                <a:ea typeface="MS PGothic" pitchFamily="34" charset="-128"/>
              </a:defRPr>
            </a:lvl4pPr>
            <a:lvl5pPr marL="2057400" indent="-228600">
              <a:defRPr sz="1600">
                <a:solidFill>
                  <a:srgbClr val="020060"/>
                </a:solidFill>
                <a:latin typeface="Tahoma" pitchFamily="34" charset="0"/>
                <a:ea typeface="MS PGothic" pitchFamily="34" charset="-128"/>
              </a:defRPr>
            </a:lvl5pPr>
            <a:lvl6pPr marL="2514600" indent="-228600" eaLnBrk="0" fontAlgn="base" hangingPunct="0">
              <a:spcBef>
                <a:spcPct val="0"/>
              </a:spcBef>
              <a:spcAft>
                <a:spcPct val="0"/>
              </a:spcAft>
              <a:defRPr sz="1600">
                <a:solidFill>
                  <a:srgbClr val="020060"/>
                </a:solidFill>
                <a:latin typeface="Tahoma" pitchFamily="34" charset="0"/>
                <a:ea typeface="MS PGothic" pitchFamily="34" charset="-128"/>
              </a:defRPr>
            </a:lvl6pPr>
            <a:lvl7pPr marL="2971800" indent="-228600" eaLnBrk="0" fontAlgn="base" hangingPunct="0">
              <a:spcBef>
                <a:spcPct val="0"/>
              </a:spcBef>
              <a:spcAft>
                <a:spcPct val="0"/>
              </a:spcAft>
              <a:defRPr sz="1600">
                <a:solidFill>
                  <a:srgbClr val="020060"/>
                </a:solidFill>
                <a:latin typeface="Tahoma" pitchFamily="34" charset="0"/>
                <a:ea typeface="MS PGothic" pitchFamily="34" charset="-128"/>
              </a:defRPr>
            </a:lvl7pPr>
            <a:lvl8pPr marL="3429000" indent="-228600" eaLnBrk="0" fontAlgn="base" hangingPunct="0">
              <a:spcBef>
                <a:spcPct val="0"/>
              </a:spcBef>
              <a:spcAft>
                <a:spcPct val="0"/>
              </a:spcAft>
              <a:defRPr sz="1600">
                <a:solidFill>
                  <a:srgbClr val="020060"/>
                </a:solidFill>
                <a:latin typeface="Tahoma" pitchFamily="34" charset="0"/>
                <a:ea typeface="MS PGothic" pitchFamily="34" charset="-128"/>
              </a:defRPr>
            </a:lvl8pPr>
            <a:lvl9pPr marL="3886200" indent="-228600" eaLnBrk="0" fontAlgn="base" hangingPunct="0">
              <a:spcBef>
                <a:spcPct val="0"/>
              </a:spcBef>
              <a:spcAft>
                <a:spcPct val="0"/>
              </a:spcAft>
              <a:defRPr sz="1600">
                <a:solidFill>
                  <a:srgbClr val="020060"/>
                </a:solidFill>
                <a:latin typeface="Tahoma" pitchFamily="34" charset="0"/>
                <a:ea typeface="MS PGothic" pitchFamily="34" charset="-128"/>
              </a:defRPr>
            </a:lvl9pPr>
          </a:lstStyle>
          <a:p>
            <a:pPr defTabSz="914411" fontAlgn="base">
              <a:spcBef>
                <a:spcPct val="0"/>
              </a:spcBef>
              <a:spcAft>
                <a:spcPct val="0"/>
              </a:spcAft>
              <a:defRPr/>
            </a:pPr>
            <a:r>
              <a:rPr lang="it-IT" altLang="it-IT" sz="1200">
                <a:solidFill>
                  <a:srgbClr val="7F7F7F"/>
                </a:solidFill>
                <a:latin typeface="Source Sans Pro" panose="020B0503030403020204" pitchFamily="34" charset="0"/>
                <a:ea typeface="Source Sans Pro" panose="020B0503030403020204" pitchFamily="34" charset="0"/>
              </a:rPr>
              <a:t>Fonte: elaborazione TEHA Group su fonti varie, 2025</a:t>
            </a:r>
          </a:p>
        </p:txBody>
      </p:sp>
      <p:pic>
        <p:nvPicPr>
          <p:cNvPr id="2050" name="Picture 2">
            <a:extLst>
              <a:ext uri="{FF2B5EF4-FFF2-40B4-BE49-F238E27FC236}">
                <a16:creationId xmlns:a16="http://schemas.microsoft.com/office/drawing/2014/main" id="{AFF1F99A-E081-9CCC-9D32-85AD67BB9AA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9021" y="1970854"/>
            <a:ext cx="2757308" cy="2041124"/>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2054" name="Picture 6" descr="Digital Twin in Healthcare 2024: The Full Overview — Program-Ace">
            <a:extLst>
              <a:ext uri="{FF2B5EF4-FFF2-40B4-BE49-F238E27FC236}">
                <a16:creationId xmlns:a16="http://schemas.microsoft.com/office/drawing/2014/main" id="{E67B382B-F038-E88A-99C4-8229CA6B9F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9859" y="2034353"/>
            <a:ext cx="3550558" cy="1969909"/>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2056" name="Picture 8" descr="Robot Teacher in Class Setting | Stable Diffusion Online">
            <a:extLst>
              <a:ext uri="{FF2B5EF4-FFF2-40B4-BE49-F238E27FC236}">
                <a16:creationId xmlns:a16="http://schemas.microsoft.com/office/drawing/2014/main" id="{9ADA9BCC-5E1A-FFF3-FF0E-9CFCD0F9C1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19907" y="2096465"/>
            <a:ext cx="1933892" cy="1933892"/>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
        <p:nvSpPr>
          <p:cNvPr id="5" name="CasellaDiTesto 4">
            <a:extLst>
              <a:ext uri="{FF2B5EF4-FFF2-40B4-BE49-F238E27FC236}">
                <a16:creationId xmlns:a16="http://schemas.microsoft.com/office/drawing/2014/main" id="{8EC3AAB4-6DD5-B386-2E26-E03B140F3B16}"/>
              </a:ext>
            </a:extLst>
          </p:cNvPr>
          <p:cNvSpPr txBox="1"/>
          <p:nvPr/>
        </p:nvSpPr>
        <p:spPr>
          <a:xfrm>
            <a:off x="453946" y="4030549"/>
            <a:ext cx="3962192" cy="1660776"/>
          </a:xfrm>
          <a:prstGeom prst="rect">
            <a:avLst/>
          </a:prstGeom>
          <a:noFill/>
        </p:spPr>
        <p:txBody>
          <a:bodyPr wrap="square">
            <a:spAutoFit/>
          </a:bodyPr>
          <a:lstStyle/>
          <a:p>
            <a:pPr algn="ctr">
              <a:lnSpc>
                <a:spcPct val="107000"/>
              </a:lnSpc>
              <a:spcBef>
                <a:spcPts val="720"/>
              </a:spcBef>
              <a:spcAft>
                <a:spcPts val="720"/>
              </a:spcAft>
            </a:pPr>
            <a:r>
              <a:rPr lang="it-IT" sz="1600" kern="100" dirty="0">
                <a:solidFill>
                  <a:srgbClr val="001E60"/>
                </a:solidFill>
                <a:ea typeface="Georgia" panose="02040502050405020303" pitchFamily="18" charset="0"/>
                <a:cs typeface="Georgia" panose="02040502050405020303" pitchFamily="18" charset="0"/>
              </a:rPr>
              <a:t>La formazione a distanza si evolverà grazie a tecnologie immersive, offrendo </a:t>
            </a:r>
            <a:r>
              <a:rPr lang="it-IT" sz="1600" b="1" kern="100" dirty="0">
                <a:solidFill>
                  <a:srgbClr val="001E60"/>
                </a:solidFill>
                <a:ea typeface="Georgia" panose="02040502050405020303" pitchFamily="18" charset="0"/>
                <a:cs typeface="Georgia" panose="02040502050405020303" pitchFamily="18" charset="0"/>
              </a:rPr>
              <a:t>esperienze 3D interattive </a:t>
            </a:r>
            <a:r>
              <a:rPr lang="it-IT" sz="1600" kern="100" dirty="0">
                <a:solidFill>
                  <a:srgbClr val="001E60"/>
                </a:solidFill>
                <a:ea typeface="Georgia" panose="02040502050405020303" pitchFamily="18" charset="0"/>
                <a:cs typeface="Georgia" panose="02040502050405020303" pitchFamily="18" charset="0"/>
              </a:rPr>
              <a:t>che permetteranno agli studenti di </a:t>
            </a:r>
            <a:r>
              <a:rPr lang="it-IT" sz="1600" b="1" kern="100" dirty="0">
                <a:solidFill>
                  <a:srgbClr val="001E60"/>
                </a:solidFill>
                <a:ea typeface="Georgia" panose="02040502050405020303" pitchFamily="18" charset="0"/>
                <a:cs typeface="Georgia" panose="02040502050405020303" pitchFamily="18" charset="0"/>
              </a:rPr>
              <a:t>apprendere ovunque nel mondo</a:t>
            </a:r>
            <a:r>
              <a:rPr lang="it-IT" sz="1600" kern="100" dirty="0">
                <a:solidFill>
                  <a:srgbClr val="001E60"/>
                </a:solidFill>
                <a:ea typeface="Georgia" panose="02040502050405020303" pitchFamily="18" charset="0"/>
                <a:cs typeface="Georgia" panose="02040502050405020303" pitchFamily="18" charset="0"/>
              </a:rPr>
              <a:t>, superando le barriere geografiche e ampliando l'accesso all'istruzione</a:t>
            </a:r>
          </a:p>
        </p:txBody>
      </p:sp>
      <p:sp>
        <p:nvSpPr>
          <p:cNvPr id="9" name="CasellaDiTesto 8">
            <a:extLst>
              <a:ext uri="{FF2B5EF4-FFF2-40B4-BE49-F238E27FC236}">
                <a16:creationId xmlns:a16="http://schemas.microsoft.com/office/drawing/2014/main" id="{7168BF3B-3A68-5948-761F-9EC950D23D6F}"/>
              </a:ext>
            </a:extLst>
          </p:cNvPr>
          <p:cNvSpPr txBox="1"/>
          <p:nvPr/>
        </p:nvSpPr>
        <p:spPr>
          <a:xfrm>
            <a:off x="4613446" y="4030549"/>
            <a:ext cx="3962192" cy="1924245"/>
          </a:xfrm>
          <a:prstGeom prst="rect">
            <a:avLst/>
          </a:prstGeom>
          <a:noFill/>
        </p:spPr>
        <p:txBody>
          <a:bodyPr wrap="square">
            <a:spAutoFit/>
          </a:bodyPr>
          <a:lstStyle/>
          <a:p>
            <a:pPr algn="ctr">
              <a:lnSpc>
                <a:spcPct val="107000"/>
              </a:lnSpc>
              <a:spcBef>
                <a:spcPts val="720"/>
              </a:spcBef>
              <a:spcAft>
                <a:spcPts val="720"/>
              </a:spcAft>
            </a:pPr>
            <a:r>
              <a:rPr lang="it-IT" sz="1600" dirty="0">
                <a:solidFill>
                  <a:srgbClr val="001E60"/>
                </a:solidFill>
              </a:rPr>
              <a:t>Gli ambienti scolastici tradizionali saranno integrati da </a:t>
            </a:r>
            <a:r>
              <a:rPr lang="it-IT" sz="1600" b="1" dirty="0">
                <a:solidFill>
                  <a:srgbClr val="001E60"/>
                </a:solidFill>
              </a:rPr>
              <a:t>spazi immersivi </a:t>
            </a:r>
            <a:r>
              <a:rPr lang="it-IT" sz="1600" dirty="0">
                <a:solidFill>
                  <a:srgbClr val="001E60"/>
                </a:solidFill>
              </a:rPr>
              <a:t>che, grazie al </a:t>
            </a:r>
            <a:r>
              <a:rPr lang="it-IT" sz="1600" b="1" i="1" dirty="0" err="1">
                <a:solidFill>
                  <a:srgbClr val="001E60"/>
                </a:solidFill>
              </a:rPr>
              <a:t>digital</a:t>
            </a:r>
            <a:r>
              <a:rPr lang="it-IT" sz="1600" b="1" i="1" dirty="0">
                <a:solidFill>
                  <a:srgbClr val="001E60"/>
                </a:solidFill>
              </a:rPr>
              <a:t> twin</a:t>
            </a:r>
            <a:r>
              <a:rPr lang="it-IT" sz="1600" dirty="0">
                <a:solidFill>
                  <a:srgbClr val="001E60"/>
                </a:solidFill>
              </a:rPr>
              <a:t>, permetteranno agli studenti di simulare scenari realistici e applicare la teoria alla pratica in tempo reale, migliorando così la preparazione professionale</a:t>
            </a:r>
            <a:endParaRPr lang="it-IT" sz="1600" kern="100" dirty="0">
              <a:solidFill>
                <a:srgbClr val="001E60"/>
              </a:solidFill>
              <a:ea typeface="Georgia" panose="02040502050405020303" pitchFamily="18" charset="0"/>
              <a:cs typeface="Georgia" panose="02040502050405020303" pitchFamily="18" charset="0"/>
            </a:endParaRPr>
          </a:p>
        </p:txBody>
      </p:sp>
      <p:sp>
        <p:nvSpPr>
          <p:cNvPr id="10" name="CasellaDiTesto 9">
            <a:extLst>
              <a:ext uri="{FF2B5EF4-FFF2-40B4-BE49-F238E27FC236}">
                <a16:creationId xmlns:a16="http://schemas.microsoft.com/office/drawing/2014/main" id="{5D536BF6-92D1-8A2B-FE32-46725A65E263}"/>
              </a:ext>
            </a:extLst>
          </p:cNvPr>
          <p:cNvSpPr txBox="1"/>
          <p:nvPr/>
        </p:nvSpPr>
        <p:spPr>
          <a:xfrm>
            <a:off x="8487833" y="4030549"/>
            <a:ext cx="3547755" cy="2187715"/>
          </a:xfrm>
          <a:prstGeom prst="rect">
            <a:avLst/>
          </a:prstGeom>
          <a:noFill/>
        </p:spPr>
        <p:txBody>
          <a:bodyPr wrap="square">
            <a:spAutoFit/>
          </a:bodyPr>
          <a:lstStyle/>
          <a:p>
            <a:pPr algn="ctr">
              <a:lnSpc>
                <a:spcPct val="107000"/>
              </a:lnSpc>
              <a:spcBef>
                <a:spcPts val="720"/>
              </a:spcBef>
              <a:spcAft>
                <a:spcPts val="720"/>
              </a:spcAft>
            </a:pPr>
            <a:r>
              <a:rPr lang="it-IT" sz="1600" kern="100" dirty="0">
                <a:solidFill>
                  <a:srgbClr val="001E60"/>
                </a:solidFill>
                <a:ea typeface="Georgia" panose="02040502050405020303" pitchFamily="18" charset="0"/>
                <a:cs typeface="Georgia" panose="02040502050405020303" pitchFamily="18" charset="0"/>
              </a:rPr>
              <a:t>L’uso di insegnanti robotici e IA rivoluzionerà l’istruzione, offrendo </a:t>
            </a:r>
            <a:r>
              <a:rPr lang="it-IT" sz="1600" b="1" kern="100" dirty="0">
                <a:solidFill>
                  <a:srgbClr val="001E60"/>
                </a:solidFill>
                <a:ea typeface="Georgia" panose="02040502050405020303" pitchFamily="18" charset="0"/>
                <a:cs typeface="Georgia" panose="02040502050405020303" pitchFamily="18" charset="0"/>
              </a:rPr>
              <a:t>supporto personalizzato e continuo </a:t>
            </a:r>
            <a:r>
              <a:rPr lang="it-IT" sz="1600" kern="100" dirty="0">
                <a:solidFill>
                  <a:srgbClr val="001E60"/>
                </a:solidFill>
                <a:ea typeface="Georgia" panose="02040502050405020303" pitchFamily="18" charset="0"/>
                <a:cs typeface="Georgia" panose="02040502050405020303" pitchFamily="18" charset="0"/>
              </a:rPr>
              <a:t>agli studenti: questi strumenti </a:t>
            </a:r>
            <a:r>
              <a:rPr lang="it-IT" sz="1600" b="1" kern="100" dirty="0">
                <a:solidFill>
                  <a:srgbClr val="001E60"/>
                </a:solidFill>
                <a:ea typeface="Georgia" panose="02040502050405020303" pitchFamily="18" charset="0"/>
                <a:cs typeface="Georgia" panose="02040502050405020303" pitchFamily="18" charset="0"/>
              </a:rPr>
              <a:t>affiancheranno gli educatori</a:t>
            </a:r>
            <a:r>
              <a:rPr lang="it-IT" sz="1600" kern="100" dirty="0">
                <a:solidFill>
                  <a:srgbClr val="001E60"/>
                </a:solidFill>
                <a:ea typeface="Georgia" panose="02040502050405020303" pitchFamily="18" charset="0"/>
                <a:cs typeface="Georgia" panose="02040502050405020303" pitchFamily="18" charset="0"/>
              </a:rPr>
              <a:t>, adattando l’insegnamento alle esigenze individuali e potenziando l’efficacia del percorso formativo</a:t>
            </a:r>
          </a:p>
        </p:txBody>
      </p:sp>
      <p:sp>
        <p:nvSpPr>
          <p:cNvPr id="4" name="CasellaDiTesto 3">
            <a:extLst>
              <a:ext uri="{FF2B5EF4-FFF2-40B4-BE49-F238E27FC236}">
                <a16:creationId xmlns:a16="http://schemas.microsoft.com/office/drawing/2014/main" id="{D12CAFB7-BEA4-5B19-6EFE-850030E86368}"/>
              </a:ext>
            </a:extLst>
          </p:cNvPr>
          <p:cNvSpPr txBox="1"/>
          <p:nvPr/>
        </p:nvSpPr>
        <p:spPr>
          <a:xfrm>
            <a:off x="370704" y="1062892"/>
            <a:ext cx="11417106" cy="369460"/>
          </a:xfrm>
          <a:prstGeom prst="rect">
            <a:avLst/>
          </a:prstGeom>
          <a:noFill/>
        </p:spPr>
        <p:txBody>
          <a:bodyPr wrap="square" rtlCol="0">
            <a:spAutoFit/>
          </a:bodyPr>
          <a:lstStyle/>
          <a:p>
            <a:pPr algn="ctr"/>
            <a:r>
              <a:rPr lang="it-IT" sz="1801" b="1" dirty="0">
                <a:solidFill>
                  <a:srgbClr val="001E60"/>
                </a:solidFill>
              </a:rPr>
              <a:t>Alcune anticipazioni di un “futuro possibile” legato sistema dell’istruzione</a:t>
            </a:r>
          </a:p>
        </p:txBody>
      </p:sp>
    </p:spTree>
    <p:extLst>
      <p:ext uri="{BB962C8B-B14F-4D97-AF65-F5344CB8AC3E}">
        <p14:creationId xmlns:p14="http://schemas.microsoft.com/office/powerpoint/2010/main" val="6947899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1988CD-839B-0892-C4DE-94D90A8C1812}"/>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8E51256A-6036-CFA9-72A1-E59C25C06027}"/>
              </a:ext>
            </a:extLst>
          </p:cNvPr>
          <p:cNvSpPr>
            <a:spLocks noGrp="1"/>
          </p:cNvSpPr>
          <p:nvPr>
            <p:ph type="title"/>
          </p:nvPr>
        </p:nvSpPr>
        <p:spPr>
          <a:xfrm>
            <a:off x="403313" y="206101"/>
            <a:ext cx="11379820" cy="553198"/>
          </a:xfrm>
        </p:spPr>
        <p:txBody>
          <a:bodyPr/>
          <a:lstStyle/>
          <a:p>
            <a:r>
              <a:rPr lang="it-IT" sz="2800" dirty="0">
                <a:solidFill>
                  <a:srgbClr val="C00000"/>
                </a:solidFill>
              </a:rPr>
              <a:t>COSA FARE:</a:t>
            </a:r>
            <a:r>
              <a:rPr lang="it-IT" sz="2800" dirty="0"/>
              <a:t> la creazione di poli di istruzione intergenerazionali su scala territoriale</a:t>
            </a:r>
            <a:endParaRPr lang="it-IT" sz="2800" b="1" dirty="0"/>
          </a:p>
        </p:txBody>
      </p:sp>
      <p:sp>
        <p:nvSpPr>
          <p:cNvPr id="3" name="Segnaposto contenuto 2">
            <a:extLst>
              <a:ext uri="{FF2B5EF4-FFF2-40B4-BE49-F238E27FC236}">
                <a16:creationId xmlns:a16="http://schemas.microsoft.com/office/drawing/2014/main" id="{45C910ED-CA32-F978-CA53-C3066D838993}"/>
              </a:ext>
            </a:extLst>
          </p:cNvPr>
          <p:cNvSpPr>
            <a:spLocks noGrp="1"/>
          </p:cNvSpPr>
          <p:nvPr>
            <p:ph sz="quarter" idx="11"/>
          </p:nvPr>
        </p:nvSpPr>
        <p:spPr>
          <a:xfrm>
            <a:off x="1007091" y="2132467"/>
            <a:ext cx="10776044" cy="4069081"/>
          </a:xfrm>
        </p:spPr>
        <p:txBody>
          <a:bodyPr/>
          <a:lstStyle/>
          <a:p>
            <a:pPr marL="97201" indent="0">
              <a:spcBef>
                <a:spcPts val="300"/>
              </a:spcBef>
              <a:spcAft>
                <a:spcPts val="300"/>
              </a:spcAft>
              <a:buNone/>
            </a:pPr>
            <a:r>
              <a:rPr lang="it-IT" sz="2000" b="1" dirty="0">
                <a:cs typeface="Times New Roman" panose="02020603050405020304" pitchFamily="18" charset="0"/>
              </a:rPr>
              <a:t>AZIONI-CHIAVE:</a:t>
            </a:r>
          </a:p>
          <a:p>
            <a:pPr marL="97201" indent="0">
              <a:spcBef>
                <a:spcPts val="1801"/>
              </a:spcBef>
              <a:spcAft>
                <a:spcPts val="1801"/>
              </a:spcAft>
              <a:buNone/>
            </a:pPr>
            <a:r>
              <a:rPr lang="it-IT" sz="2000" b="1" dirty="0">
                <a:ea typeface="Times New Roman" panose="02020603050405020304" pitchFamily="18" charset="0"/>
                <a:cs typeface="Times New Roman" panose="02020603050405020304" pitchFamily="18" charset="0"/>
              </a:rPr>
              <a:t>Attrarre talenti extra-territoriali </a:t>
            </a:r>
            <a:r>
              <a:rPr lang="it-IT" sz="2000" dirty="0">
                <a:ea typeface="Times New Roman" panose="02020603050405020304" pitchFamily="18" charset="0"/>
                <a:cs typeface="Times New Roman" panose="02020603050405020304" pitchFamily="18" charset="0"/>
              </a:rPr>
              <a:t>(ad es. da Paesi del bacino del Mediterraneo) e </a:t>
            </a:r>
            <a:r>
              <a:rPr lang="it-IT" sz="2000" b="1" dirty="0">
                <a:ea typeface="Times New Roman" panose="02020603050405020304" pitchFamily="18" charset="0"/>
                <a:cs typeface="Times New Roman" panose="02020603050405020304" pitchFamily="18" charset="0"/>
              </a:rPr>
              <a:t>favorire l’integrazione socio-economica</a:t>
            </a:r>
            <a:r>
              <a:rPr lang="it-IT" sz="2000" dirty="0">
                <a:ea typeface="Times New Roman" panose="02020603050405020304" pitchFamily="18" charset="0"/>
                <a:cs typeface="Times New Roman" panose="02020603050405020304" pitchFamily="18" charset="0"/>
              </a:rPr>
              <a:t> attraverso livelli più equi e diffusi di istruzione</a:t>
            </a:r>
          </a:p>
          <a:p>
            <a:pPr marL="97201" indent="0">
              <a:spcBef>
                <a:spcPts val="1801"/>
              </a:spcBef>
              <a:spcAft>
                <a:spcPts val="1801"/>
              </a:spcAft>
              <a:buNone/>
            </a:pPr>
            <a:r>
              <a:rPr lang="it-IT" sz="2000" b="1" dirty="0">
                <a:ea typeface="Times New Roman" panose="02020603050405020304" pitchFamily="18" charset="0"/>
                <a:cs typeface="Times New Roman" panose="02020603050405020304" pitchFamily="18" charset="0"/>
              </a:rPr>
              <a:t>Accorpare le strutture di istruzione e formazione </a:t>
            </a:r>
            <a:r>
              <a:rPr lang="it-IT" sz="2000" dirty="0">
                <a:ea typeface="Times New Roman" panose="02020603050405020304" pitchFamily="18" charset="0"/>
                <a:cs typeface="Times New Roman" panose="02020603050405020304" pitchFamily="18" charset="0"/>
              </a:rPr>
              <a:t>(scuole superiori secondarie, ITS Academy, Università) in poli territoriali in cui l’erogazione dei corsi sarà ibrida (fisica e digitale)</a:t>
            </a:r>
          </a:p>
          <a:p>
            <a:pPr marL="97201" indent="0">
              <a:spcBef>
                <a:spcPts val="1801"/>
              </a:spcBef>
              <a:spcAft>
                <a:spcPts val="1801"/>
              </a:spcAft>
              <a:buNone/>
            </a:pPr>
            <a:r>
              <a:rPr lang="it-IT" sz="2000" dirty="0">
                <a:ea typeface="Times New Roman" panose="02020603050405020304" pitchFamily="18" charset="0"/>
                <a:cs typeface="Times New Roman" panose="02020603050405020304" pitchFamily="18" charset="0"/>
              </a:rPr>
              <a:t>Prevedere il </a:t>
            </a:r>
            <a:r>
              <a:rPr lang="it-IT" sz="2000" b="1" dirty="0">
                <a:ea typeface="Times New Roman" panose="02020603050405020304" pitchFamily="18" charset="0"/>
                <a:cs typeface="Times New Roman" panose="02020603050405020304" pitchFamily="18" charset="0"/>
              </a:rPr>
              <a:t>recupero funzionale</a:t>
            </a:r>
            <a:r>
              <a:rPr lang="it-IT" sz="2000" dirty="0">
                <a:ea typeface="Times New Roman" panose="02020603050405020304" pitchFamily="18" charset="0"/>
                <a:cs typeface="Times New Roman" panose="02020603050405020304" pitchFamily="18" charset="0"/>
              </a:rPr>
              <a:t> delle ex strutture formative per insediamenti produttivi, uffici e luoghi di aggregazione sociale o strutture sanitarie</a:t>
            </a:r>
          </a:p>
          <a:p>
            <a:pPr marL="97201" indent="0">
              <a:spcBef>
                <a:spcPts val="1801"/>
              </a:spcBef>
              <a:spcAft>
                <a:spcPts val="1801"/>
              </a:spcAft>
              <a:buNone/>
            </a:pPr>
            <a:endParaRPr lang="it-IT" sz="2000" b="1" i="1" dirty="0">
              <a:ea typeface="Times New Roman" panose="02020603050405020304" pitchFamily="18" charset="0"/>
              <a:cs typeface="Times New Roman" panose="02020603050405020304" pitchFamily="18" charset="0"/>
            </a:endParaRPr>
          </a:p>
        </p:txBody>
      </p:sp>
      <p:sp>
        <p:nvSpPr>
          <p:cNvPr id="4" name="Rettangolo 3">
            <a:extLst>
              <a:ext uri="{FF2B5EF4-FFF2-40B4-BE49-F238E27FC236}">
                <a16:creationId xmlns:a16="http://schemas.microsoft.com/office/drawing/2014/main" id="{D4015C74-B323-C2B1-7BE8-DF0D41D97E5D}"/>
              </a:ext>
            </a:extLst>
          </p:cNvPr>
          <p:cNvSpPr/>
          <p:nvPr/>
        </p:nvSpPr>
        <p:spPr>
          <a:xfrm>
            <a:off x="403314" y="991044"/>
            <a:ext cx="11380700" cy="913132"/>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201" i="1" dirty="0">
                <a:solidFill>
                  <a:srgbClr val="001E60"/>
                </a:solidFill>
              </a:rPr>
              <a:t>Creare poli territoriali di formazione e aggiornamento professionali per superare la </a:t>
            </a:r>
            <a:r>
              <a:rPr lang="it-IT" sz="2201" b="1" i="1" dirty="0">
                <a:solidFill>
                  <a:srgbClr val="001E60"/>
                </a:solidFill>
              </a:rPr>
              <a:t>frammentazione territoriale </a:t>
            </a:r>
            <a:r>
              <a:rPr lang="it-IT" sz="2201" i="1" dirty="0">
                <a:solidFill>
                  <a:srgbClr val="001E60"/>
                </a:solidFill>
              </a:rPr>
              <a:t>e gestire la </a:t>
            </a:r>
            <a:r>
              <a:rPr lang="it-IT" sz="2201" b="1" i="1" dirty="0">
                <a:solidFill>
                  <a:srgbClr val="001E60"/>
                </a:solidFill>
              </a:rPr>
              <a:t>riduzione della componente di giovani under 29 anni</a:t>
            </a:r>
          </a:p>
        </p:txBody>
      </p:sp>
      <p:sp>
        <p:nvSpPr>
          <p:cNvPr id="5" name="Segnaposto testo 3">
            <a:extLst>
              <a:ext uri="{FF2B5EF4-FFF2-40B4-BE49-F238E27FC236}">
                <a16:creationId xmlns:a16="http://schemas.microsoft.com/office/drawing/2014/main" id="{DE1F8BE0-15B2-2215-D93F-37E2906180B4}"/>
              </a:ext>
            </a:extLst>
          </p:cNvPr>
          <p:cNvSpPr>
            <a:spLocks noGrp="1"/>
          </p:cNvSpPr>
          <p:nvPr>
            <p:ph type="body" sz="quarter" idx="10"/>
          </p:nvPr>
        </p:nvSpPr>
        <p:spPr>
          <a:xfrm>
            <a:off x="1595888" y="6512995"/>
            <a:ext cx="8488363" cy="277812"/>
          </a:xfrm>
        </p:spPr>
        <p:txBody>
          <a:bodyPr/>
          <a:lstStyle/>
          <a:p>
            <a:r>
              <a:rPr lang="it-IT" dirty="0"/>
              <a:t>Fonte: elaborazione TEHA Group</a:t>
            </a:r>
            <a:r>
              <a:rPr lang="en-US" dirty="0"/>
              <a:t>, 2025</a:t>
            </a:r>
            <a:endParaRPr lang="it-IT" dirty="0"/>
          </a:p>
        </p:txBody>
      </p:sp>
      <p:pic>
        <p:nvPicPr>
          <p:cNvPr id="2050" name="Picture 2" descr="Talent search ">
            <a:extLst>
              <a:ext uri="{FF2B5EF4-FFF2-40B4-BE49-F238E27FC236}">
                <a16:creationId xmlns:a16="http://schemas.microsoft.com/office/drawing/2014/main" id="{4ADB6BF3-1DD7-0D4E-F2CE-A2EA6A3A88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412" y="2610854"/>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chool ">
            <a:extLst>
              <a:ext uri="{FF2B5EF4-FFF2-40B4-BE49-F238E27FC236}">
                <a16:creationId xmlns:a16="http://schemas.microsoft.com/office/drawing/2014/main" id="{5F934889-D8B5-2923-2774-28690C1C16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0412" y="3611352"/>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New office ">
            <a:extLst>
              <a:ext uri="{FF2B5EF4-FFF2-40B4-BE49-F238E27FC236}">
                <a16:creationId xmlns:a16="http://schemas.microsoft.com/office/drawing/2014/main" id="{328D9520-67D0-6A1B-CE6F-8FD4065D5B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0412" y="4557528"/>
            <a:ext cx="756000" cy="75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33557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ersonalizzato 1">
      <a:majorFont>
        <a:latin typeface="Source Sans Pro SemiBold"/>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aster ambrosetti">
  <a:themeElements>
    <a:clrScheme name="Presentazion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Personalizzato 1">
      <a:majorFont>
        <a:latin typeface="Source Sans Pro SemiBold"/>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99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600" b="0" i="0" u="none" strike="noStrike" cap="none" normalizeH="0" baseline="0" smtClean="0">
            <a:ln>
              <a:noFill/>
            </a:ln>
            <a:solidFill>
              <a:srgbClr val="020060"/>
            </a:solidFill>
            <a:effectLst/>
            <a:latin typeface="Tahoma" pitchFamily="34" charset="0"/>
          </a:defRPr>
        </a:defPPr>
      </a:lstStyle>
    </a:spDef>
    <a:lnDef>
      <a:spPr bwMode="auto">
        <a:xfrm>
          <a:off x="0" y="0"/>
          <a:ext cx="1" cy="1"/>
        </a:xfrm>
        <a:custGeom>
          <a:avLst/>
          <a:gdLst/>
          <a:ahLst/>
          <a:cxnLst/>
          <a:rect l="0" t="0" r="0" b="0"/>
          <a:pathLst/>
        </a:custGeom>
        <a:solidFill>
          <a:srgbClr val="FF99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600" b="0" i="0" u="none" strike="noStrike" cap="none" normalizeH="0" baseline="0" smtClean="0">
            <a:ln>
              <a:noFill/>
            </a:ln>
            <a:solidFill>
              <a:srgbClr val="020060"/>
            </a:solidFill>
            <a:effectLst/>
            <a:latin typeface="Tahoma" pitchFamily="34" charset="0"/>
          </a:defRPr>
        </a:defPPr>
      </a:lstStyle>
    </a:lnDef>
    <a:txDef>
      <a:spPr/>
      <a:bodyPr wrap="square" rtlCol="0">
        <a:spAutoFit/>
      </a:bodyPr>
      <a:lstStyle>
        <a:defPPr>
          <a:defRPr dirty="0" smtClean="0"/>
        </a:defPPr>
      </a:lstStyle>
    </a:txDef>
  </a:objectDefaults>
  <a:extraClrSchemeLst>
    <a:extraClrScheme>
      <a:clrScheme name="Presentazion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resentazion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resentazion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resentazion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resentazion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resentazion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resentazion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master ambrosetti">
  <a:themeElements>
    <a:clrScheme name="Presentazion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Personalizzato 1">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99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600" b="0" i="0" u="none" strike="noStrike" cap="none" normalizeH="0" baseline="0" smtClean="0">
            <a:ln>
              <a:noFill/>
            </a:ln>
            <a:solidFill>
              <a:srgbClr val="020060"/>
            </a:solidFill>
            <a:effectLst/>
            <a:latin typeface="Tahoma" pitchFamily="34" charset="0"/>
          </a:defRPr>
        </a:defPPr>
      </a:lstStyle>
    </a:spDef>
    <a:lnDef>
      <a:spPr bwMode="auto">
        <a:xfrm>
          <a:off x="0" y="0"/>
          <a:ext cx="1" cy="1"/>
        </a:xfrm>
        <a:custGeom>
          <a:avLst/>
          <a:gdLst/>
          <a:ahLst/>
          <a:cxnLst/>
          <a:rect l="0" t="0" r="0" b="0"/>
          <a:pathLst/>
        </a:custGeom>
        <a:solidFill>
          <a:srgbClr val="FF99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600" b="0" i="0" u="none" strike="noStrike" cap="none" normalizeH="0" baseline="0" smtClean="0">
            <a:ln>
              <a:noFill/>
            </a:ln>
            <a:solidFill>
              <a:srgbClr val="020060"/>
            </a:solidFill>
            <a:effectLst/>
            <a:latin typeface="Tahoma" pitchFamily="34" charset="0"/>
          </a:defRPr>
        </a:defPPr>
      </a:lstStyle>
    </a:lnDef>
    <a:txDef>
      <a:spPr/>
      <a:bodyPr wrap="square" rtlCol="0">
        <a:spAutoFit/>
      </a:bodyPr>
      <a:lstStyle>
        <a:defPPr>
          <a:defRPr dirty="0" smtClean="0"/>
        </a:defPPr>
      </a:lstStyle>
    </a:txDef>
  </a:objectDefaults>
  <a:extraClrSchemeLst>
    <a:extraClrScheme>
      <a:clrScheme name="Presentazion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resentazion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resentazion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resentazion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resentazion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resentazion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resentazion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ersonalizzato 1">
      <a:majorFont>
        <a:latin typeface="Source Sans Pro SemiBold"/>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master ambrosetti">
  <a:themeElements>
    <a:clrScheme name="Presentazion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Personalizzato 1">
      <a:majorFont>
        <a:latin typeface="Source Sans Pro SemiBold"/>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99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600" b="0" i="0" u="none" strike="noStrike" cap="none" normalizeH="0" baseline="0" smtClean="0">
            <a:ln>
              <a:noFill/>
            </a:ln>
            <a:solidFill>
              <a:srgbClr val="020060"/>
            </a:solidFill>
            <a:effectLst/>
            <a:latin typeface="Tahoma" pitchFamily="34" charset="0"/>
          </a:defRPr>
        </a:defPPr>
      </a:lstStyle>
    </a:spDef>
    <a:lnDef>
      <a:spPr bwMode="auto">
        <a:xfrm>
          <a:off x="0" y="0"/>
          <a:ext cx="1" cy="1"/>
        </a:xfrm>
        <a:custGeom>
          <a:avLst/>
          <a:gdLst/>
          <a:ahLst/>
          <a:cxnLst/>
          <a:rect l="0" t="0" r="0" b="0"/>
          <a:pathLst/>
        </a:custGeom>
        <a:solidFill>
          <a:srgbClr val="FF99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600" b="0" i="0" u="none" strike="noStrike" cap="none" normalizeH="0" baseline="0" smtClean="0">
            <a:ln>
              <a:noFill/>
            </a:ln>
            <a:solidFill>
              <a:srgbClr val="020060"/>
            </a:solidFill>
            <a:effectLst/>
            <a:latin typeface="Tahoma" pitchFamily="34" charset="0"/>
          </a:defRPr>
        </a:defPPr>
      </a:lstStyle>
    </a:lnDef>
    <a:txDef>
      <a:spPr/>
      <a:bodyPr wrap="square" rtlCol="0">
        <a:spAutoFit/>
      </a:bodyPr>
      <a:lstStyle>
        <a:defPPr>
          <a:defRPr dirty="0" smtClean="0"/>
        </a:defPPr>
      </a:lstStyle>
    </a:txDef>
  </a:objectDefaults>
  <a:extraClrSchemeLst>
    <a:extraClrScheme>
      <a:clrScheme name="Presentazion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resentazion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resentazion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resentazion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resentazion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resentazion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resentazion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ersonalizzato 1">
      <a:majorFont>
        <a:latin typeface="Source Sans Pro SemiBold"/>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2AD40951D5240A4F9C16688C7591E422" ma:contentTypeVersion="12" ma:contentTypeDescription="Creare un nuovo documento." ma:contentTypeScope="" ma:versionID="3aa422541a12c46d92c996de59a8ba03">
  <xsd:schema xmlns:xsd="http://www.w3.org/2001/XMLSchema" xmlns:xs="http://www.w3.org/2001/XMLSchema" xmlns:p="http://schemas.microsoft.com/office/2006/metadata/properties" xmlns:ns2="c328db12-01ec-4ada-95f3-b487451528f5" xmlns:ns3="af28a2bd-6229-4b62-987d-399a1830ca9f" targetNamespace="http://schemas.microsoft.com/office/2006/metadata/properties" ma:root="true" ma:fieldsID="bfe28fe55486a2d612fd6d54838b8b85" ns2:_="" ns3:_="">
    <xsd:import namespace="c328db12-01ec-4ada-95f3-b487451528f5"/>
    <xsd:import namespace="af28a2bd-6229-4b62-987d-399a1830ca9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28db12-01ec-4ada-95f3-b48745152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Tag immagine" ma:readOnly="false" ma:fieldId="{5cf76f15-5ced-4ddc-b409-7134ff3c332f}" ma:taxonomyMulti="true" ma:sspId="10320e9c-7d2a-4015-8f25-a0b091575f6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f28a2bd-6229-4b62-987d-399a1830ca9f"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5c4da9be-16cc-434f-ae9b-cfbd14757307}" ma:internalName="TaxCatchAll" ma:showField="CatchAllData" ma:web="af28a2bd-6229-4b62-987d-399a1830ca9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328db12-01ec-4ada-95f3-b487451528f5">
      <Terms xmlns="http://schemas.microsoft.com/office/infopath/2007/PartnerControls"/>
    </lcf76f155ced4ddcb4097134ff3c332f>
    <TaxCatchAll xmlns="af28a2bd-6229-4b62-987d-399a1830ca9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E4D454-F594-435A-82E0-33DA42B399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28db12-01ec-4ada-95f3-b487451528f5"/>
    <ds:schemaRef ds:uri="af28a2bd-6229-4b62-987d-399a1830ca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2BC5C7-7DED-4E53-A2EE-1581A4166C74}">
  <ds:schemaRefs>
    <ds:schemaRef ds:uri="http://www.w3.org/XML/1998/namespace"/>
    <ds:schemaRef ds:uri="http://purl.org/dc/elements/1.1/"/>
    <ds:schemaRef ds:uri="http://schemas.microsoft.com/office/2006/documentManagement/types"/>
    <ds:schemaRef ds:uri="http://schemas.openxmlformats.org/package/2006/metadata/core-properties"/>
    <ds:schemaRef ds:uri="9f90dfda-df3a-48d3-9036-bf7d07b9cee1"/>
    <ds:schemaRef ds:uri="http://schemas.microsoft.com/office/infopath/2007/PartnerControls"/>
    <ds:schemaRef ds:uri="http://purl.org/dc/terms/"/>
    <ds:schemaRef ds:uri="http://purl.org/dc/dcmitype/"/>
    <ds:schemaRef ds:uri="http://schemas.microsoft.com/office/2006/metadata/properties"/>
    <ds:schemaRef ds:uri="afa387b0-4ee5-47db-9e3f-981327417c84"/>
    <ds:schemaRef ds:uri="c328db12-01ec-4ada-95f3-b487451528f5"/>
    <ds:schemaRef ds:uri="af28a2bd-6229-4b62-987d-399a1830ca9f"/>
  </ds:schemaRefs>
</ds:datastoreItem>
</file>

<file path=customXml/itemProps3.xml><?xml version="1.0" encoding="utf-8"?>
<ds:datastoreItem xmlns:ds="http://schemas.openxmlformats.org/officeDocument/2006/customXml" ds:itemID="{B446DBC6-66EC-4DBB-AA40-4397A173D81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94</TotalTime>
  <Words>2723</Words>
  <Application>Microsoft Office PowerPoint</Application>
  <PresentationFormat>Widescreen</PresentationFormat>
  <Paragraphs>155</Paragraphs>
  <Slides>10</Slides>
  <Notes>10</Notes>
  <HiddenSlides>0</HiddenSlides>
  <MMClips>0</MMClips>
  <ScaleCrop>false</ScaleCrop>
  <HeadingPairs>
    <vt:vector size="8" baseType="variant">
      <vt:variant>
        <vt:lpstr>Caratteri utilizzati</vt:lpstr>
      </vt:variant>
      <vt:variant>
        <vt:i4>16</vt:i4>
      </vt:variant>
      <vt:variant>
        <vt:lpstr>Tema</vt:lpstr>
      </vt:variant>
      <vt:variant>
        <vt:i4>6</vt:i4>
      </vt:variant>
      <vt:variant>
        <vt:lpstr>Server OLE incorporati</vt:lpstr>
      </vt:variant>
      <vt:variant>
        <vt:i4>1</vt:i4>
      </vt:variant>
      <vt:variant>
        <vt:lpstr>Titoli diapositive</vt:lpstr>
      </vt:variant>
      <vt:variant>
        <vt:i4>10</vt:i4>
      </vt:variant>
    </vt:vector>
  </HeadingPairs>
  <TitlesOfParts>
    <vt:vector size="33" baseType="lpstr">
      <vt:lpstr>Arial</vt:lpstr>
      <vt:lpstr>Arial Nova Cond</vt:lpstr>
      <vt:lpstr>Calibri</vt:lpstr>
      <vt:lpstr>Courier New</vt:lpstr>
      <vt:lpstr>Futura PT Light</vt:lpstr>
      <vt:lpstr>Georgia</vt:lpstr>
      <vt:lpstr>Red Hat Display</vt:lpstr>
      <vt:lpstr>Source Sans Pro</vt:lpstr>
      <vt:lpstr>Source Sans Pro (Corpo)</vt:lpstr>
      <vt:lpstr>Source Sans Pro Semibold</vt:lpstr>
      <vt:lpstr>Source Sans Pro Semibold</vt:lpstr>
      <vt:lpstr>Tahoma</vt:lpstr>
      <vt:lpstr>Tamigos</vt:lpstr>
      <vt:lpstr>Times New Roman</vt:lpstr>
      <vt:lpstr>Univers LT 47 CondensedLt</vt:lpstr>
      <vt:lpstr>Wingdings</vt:lpstr>
      <vt:lpstr>Tema di Office</vt:lpstr>
      <vt:lpstr>2_master ambrosetti</vt:lpstr>
      <vt:lpstr>3_master ambrosetti</vt:lpstr>
      <vt:lpstr>2_Tema di Office</vt:lpstr>
      <vt:lpstr>5_master ambrosetti</vt:lpstr>
      <vt:lpstr>6_Tema di Office</vt:lpstr>
      <vt:lpstr>Diapositiva think-cell</vt:lpstr>
      <vt:lpstr>Presentazione standard di PowerPoint</vt:lpstr>
      <vt:lpstr>IL PUNTO DI PARTENZA: l’emergere delle nuove tecnologie digitali sta rivoluzionando il mercato del lavoro e i modelli di business</vt:lpstr>
      <vt:lpstr>Come si posizionano le imprese toscane in materia di transizione digitale?</vt:lpstr>
      <vt:lpstr>Per quasi 1/3 della popolazione toscana, le trasformazioni più significative riguarderanno soprattutto le tipologie e le modalità di lavoro</vt:lpstr>
      <vt:lpstr>COSA FARE: il progetto-bandiera “AI for Tuscany”</vt:lpstr>
      <vt:lpstr>L’adozione massiva di sistemi di Intelligenza Artificiale comporterà una revisione delle competenze da utilizzare sul lavoro</vt:lpstr>
      <vt:lpstr>Già oggi l’evoluzione dello scenario tecnologico ha creato nuove professioni o cambiato i mestieri attuali trasversalmente all’intera economia</vt:lpstr>
      <vt:lpstr>Alcune suggestioni sulla possibile evoluzione del sistema formativo entro il 2050</vt:lpstr>
      <vt:lpstr>COSA FARE: la creazione di poli di istruzione intergenerazionali su scala territoriale</vt:lpstr>
      <vt:lpstr>Presentazione standard di PowerPoint</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Nina International</cp:lastModifiedBy>
  <cp:revision>4</cp:revision>
  <cp:lastPrinted>2022-09-13T12:26:25Z</cp:lastPrinted>
  <dcterms:created xsi:type="dcterms:W3CDTF">2021-06-30T08:52:27Z</dcterms:created>
  <dcterms:modified xsi:type="dcterms:W3CDTF">2025-06-25T12:1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D40951D5240A4F9C16688C7591E422</vt:lpwstr>
  </property>
  <property fmtid="{D5CDD505-2E9C-101B-9397-08002B2CF9AE}" pid="3" name="MediaServiceImageTags">
    <vt:lpwstr/>
  </property>
</Properties>
</file>